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4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709" r:id="rId2"/>
    <p:sldMasterId id="2147483715" r:id="rId3"/>
    <p:sldMasterId id="2147483770" r:id="rId4"/>
    <p:sldMasterId id="2147483997" r:id="rId5"/>
  </p:sldMasterIdLst>
  <p:notesMasterIdLst>
    <p:notesMasterId r:id="rId9"/>
  </p:notesMasterIdLst>
  <p:sldIdLst>
    <p:sldId id="692" r:id="rId6"/>
    <p:sldId id="695" r:id="rId7"/>
    <p:sldId id="696" r:id="rId8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0000"/>
    <a:srgbClr val="00CC99"/>
    <a:srgbClr val="FFFFFF"/>
    <a:srgbClr val="FFB32C"/>
    <a:srgbClr val="EA6716"/>
    <a:srgbClr val="DEDF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44" autoAdjust="0"/>
    <p:restoredTop sz="93899" autoAdjust="0"/>
  </p:normalViewPr>
  <p:slideViewPr>
    <p:cSldViewPr snapToGrid="0">
      <p:cViewPr>
        <p:scale>
          <a:sx n="80" d="100"/>
          <a:sy n="80" d="100"/>
        </p:scale>
        <p:origin x="1356" y="7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DF28F-D7B0-4726-9C3F-93FCDCA4DB5C}" type="datetimeFigureOut">
              <a:rPr lang="it-IT" smtClean="0"/>
              <a:t>15/11/2017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3BB0AA-BB1A-402E-8DBA-DA61AF20F25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6847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lue - Bold Technology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386"/>
            <a:ext cx="10972800" cy="992717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420A2-B482-45F0-818A-8B848A9BEEDD}" type="datetimeFigureOut">
              <a:rPr lang="en-GB" noProof="0" smtClean="0"/>
              <a:t>15/11/2017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A00ADA-D62E-4212-A178-0B08E780CE62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2780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4660802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801841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icture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3321" y="1894249"/>
            <a:ext cx="5181600" cy="608736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100233" cy="6864096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63321" y="2578101"/>
            <a:ext cx="5181600" cy="29358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676689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icture (diagonal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3321" y="1894249"/>
            <a:ext cx="5181600" cy="608736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63321" y="2578101"/>
            <a:ext cx="5181600" cy="29358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206496" cy="68580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 flipH="1" flipV="1">
            <a:off x="2901836" y="0"/>
            <a:ext cx="3206496" cy="68580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grpSp>
        <p:nvGrpSpPr>
          <p:cNvPr id="10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991421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1"/>
            <a:ext cx="6091767" cy="6872817"/>
          </a:xfrm>
          <a:solidFill>
            <a:schemeClr val="accent4"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 bIns="64008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/>
              <a:t>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br>
              <a:rPr lang="en-US" b="1" baseline="0" dirty="0"/>
            </a:br>
            <a:r>
              <a:rPr lang="en-US" baseline="0" dirty="0"/>
              <a:t>button on Home tab. </a:t>
            </a:r>
            <a:r>
              <a:rPr lang="en-US" dirty="0"/>
              <a:t>To switch color on overlay on left,  select it </a:t>
            </a:r>
            <a:br>
              <a:rPr lang="en-US" dirty="0"/>
            </a:br>
            <a:r>
              <a:rPr lang="en-US" dirty="0"/>
              <a:t>and use the Shape Fill button on Home tab. To add logo or switch </a:t>
            </a:r>
            <a:br>
              <a:rPr lang="en-US" dirty="0"/>
            </a:br>
            <a:r>
              <a:rPr lang="en-US" dirty="0"/>
              <a:t>logo color, use the Add Logo button on Home tab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20700" y="1933355"/>
            <a:ext cx="5181600" cy="431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>
              <a:spcAft>
                <a:spcPts val="1500"/>
              </a:spcAft>
              <a:defRPr/>
            </a:pPr>
            <a:r>
              <a:rPr lang="en-US" dirty="0">
                <a:solidFill>
                  <a:schemeClr val="bg1"/>
                </a:solidFill>
                <a:ea typeface="Times New Roman" panose="02020603050405020304" pitchFamily="18" charset="0"/>
              </a:rPr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20844" y="964451"/>
            <a:ext cx="5181600" cy="9411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068830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/>
          </p:nvPr>
        </p:nvSpPr>
        <p:spPr>
          <a:xfrm>
            <a:off x="805465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1" name="Picture Placeholder 19"/>
          <p:cNvSpPr>
            <a:spLocks noGrp="1"/>
          </p:cNvSpPr>
          <p:nvPr>
            <p:ph type="pic" sz="quarter" idx="17"/>
          </p:nvPr>
        </p:nvSpPr>
        <p:spPr>
          <a:xfrm>
            <a:off x="3697895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2" name="Picture Placeholder 19"/>
          <p:cNvSpPr>
            <a:spLocks noGrp="1"/>
          </p:cNvSpPr>
          <p:nvPr>
            <p:ph type="pic" sz="quarter" idx="18"/>
          </p:nvPr>
        </p:nvSpPr>
        <p:spPr>
          <a:xfrm>
            <a:off x="6590323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/>
          </p:nvPr>
        </p:nvSpPr>
        <p:spPr>
          <a:xfrm>
            <a:off x="9482752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3393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515821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08249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300677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grpSp>
        <p:nvGrpSpPr>
          <p:cNvPr id="15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1453941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On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1103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s and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</p:spPr>
        <p:txBody>
          <a:bodyPr/>
          <a:lstStyle>
            <a:lvl1pPr>
              <a:defRPr sz="2667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337878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09905"/>
            <a:ext cx="3793484" cy="44130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32171" y="6356357"/>
            <a:ext cx="1440160" cy="36512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80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80FF"/>
              </a:solidFill>
            </a:endParaRP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943872" y="1509905"/>
            <a:ext cx="6623712" cy="441128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fld id="{DAFB888B-BD74-4ACA-ADB1-AA39F6ABFC0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02265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157750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A00ADA-D62E-4212-A178-0B08E780CE6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9308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ots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789" y="-32368"/>
            <a:ext cx="12192000" cy="6858000"/>
          </a:xfrm>
          <a:prstGeom prst="rect">
            <a:avLst/>
          </a:prstGeom>
        </p:spPr>
      </p:pic>
      <p:grpSp>
        <p:nvGrpSpPr>
          <p:cNvPr id="15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672425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fld id="{DAFB888B-BD74-4ACA-ADB1-AA39F6ABFC0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624000" y="3764889"/>
            <a:ext cx="10943584" cy="21643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624000" y="1501868"/>
            <a:ext cx="10943584" cy="21643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60109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55479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- Light pictur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7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cument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429" y="6114812"/>
            <a:ext cx="8543924" cy="479609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CATION | DATE</a:t>
            </a:r>
            <a:endParaRPr lang="en-GB" dirty="0"/>
          </a:p>
        </p:txBody>
      </p:sp>
      <p:sp>
        <p:nvSpPr>
          <p:cNvPr id="6" name="Rettangolo 5"/>
          <p:cNvSpPr/>
          <p:nvPr userDrawn="1"/>
        </p:nvSpPr>
        <p:spPr>
          <a:xfrm>
            <a:off x="419926" y="6595191"/>
            <a:ext cx="9771617" cy="42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067" b="1" i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nfidential and proprietary information of GroupM. Any unauthorized reproduction prohibited. All rights reserved.</a:t>
            </a:r>
            <a:endParaRPr lang="it-IT" sz="1067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067" i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it-IT" sz="1067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39536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67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FB888B-BD74-4ACA-ADB1-AA39F6ABFC05}" type="slidenum">
              <a:rPr kumimoji="0" lang="en-GB" sz="1067" b="0" i="0" u="none" strike="noStrike" kern="0" cap="none" spc="0" normalizeH="0" baseline="0" noProof="0" smtClean="0">
                <a:ln>
                  <a:noFill/>
                </a:ln>
                <a:solidFill>
                  <a:srgbClr val="B9B9B9"/>
                </a:solidFill>
                <a:effectLst/>
                <a:uLnTx/>
                <a:uFillTx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67" b="0" i="0" u="none" strike="noStrike" kern="0" cap="none" spc="0" normalizeH="0" baseline="0" noProof="0" dirty="0">
              <a:ln>
                <a:noFill/>
              </a:ln>
              <a:solidFill>
                <a:srgbClr val="B9B9B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4169264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CasellaDiTesto 3"/>
          <p:cNvSpPr txBox="1"/>
          <p:nvPr userDrawn="1"/>
        </p:nvSpPr>
        <p:spPr>
          <a:xfrm>
            <a:off x="2779059" y="673249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296876979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 cstate="email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262" y="1324638"/>
            <a:ext cx="5346092" cy="3271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11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0181" y="5177816"/>
            <a:ext cx="3966988" cy="705473"/>
          </a:xfrm>
        </p:spPr>
        <p:txBody>
          <a:bodyPr anchor="b"/>
          <a:lstStyle>
            <a:lvl1pPr marL="0" indent="0">
              <a:lnSpc>
                <a:spcPct val="120000"/>
              </a:lnSpc>
              <a:buFontTx/>
              <a:buNone/>
              <a:defRPr sz="2083">
                <a:solidFill>
                  <a:schemeClr val="bg1"/>
                </a:solidFill>
                <a:latin typeface="+mj-lt"/>
              </a:defRPr>
            </a:lvl1pPr>
            <a:lvl2pPr>
              <a:defRPr sz="2083">
                <a:latin typeface="+mn-lt"/>
              </a:defRPr>
            </a:lvl2pPr>
            <a:lvl3pPr>
              <a:defRPr sz="2083">
                <a:latin typeface="+mn-lt"/>
              </a:defRPr>
            </a:lvl3pPr>
            <a:lvl4pPr>
              <a:defRPr sz="2083">
                <a:latin typeface="+mn-lt"/>
              </a:defRPr>
            </a:lvl4pPr>
            <a:lvl5pPr>
              <a:defRPr sz="2083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10181" y="5883288"/>
            <a:ext cx="3966988" cy="356219"/>
          </a:xfrm>
        </p:spPr>
        <p:txBody>
          <a:bodyPr anchor="b"/>
          <a:lstStyle>
            <a:lvl1pPr marL="0" indent="0">
              <a:lnSpc>
                <a:spcPct val="80000"/>
              </a:lnSpc>
              <a:buFontTx/>
              <a:buNone/>
              <a:defRPr sz="1355">
                <a:solidFill>
                  <a:schemeClr val="bg1"/>
                </a:solidFill>
                <a:latin typeface="+mn-lt"/>
              </a:defRPr>
            </a:lvl1pPr>
            <a:lvl2pPr>
              <a:defRPr sz="2083">
                <a:latin typeface="+mn-lt"/>
              </a:defRPr>
            </a:lvl2pPr>
            <a:lvl3pPr>
              <a:defRPr sz="2083">
                <a:latin typeface="+mn-lt"/>
              </a:defRPr>
            </a:lvl3pPr>
            <a:lvl4pPr>
              <a:defRPr sz="2083">
                <a:latin typeface="+mn-lt"/>
              </a:defRPr>
            </a:lvl4pPr>
            <a:lvl5pPr>
              <a:defRPr sz="2083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105153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/>
          <p:cNvCxnSpPr/>
          <p:nvPr userDrawn="1"/>
        </p:nvCxnSpPr>
        <p:spPr>
          <a:xfrm>
            <a:off x="5595784" y="2295989"/>
            <a:ext cx="0" cy="198230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testo 8"/>
          <p:cNvSpPr>
            <a:spLocks noGrp="1"/>
          </p:cNvSpPr>
          <p:nvPr>
            <p:ph type="body" sz="quarter" idx="10" hasCustomPrompt="1"/>
          </p:nvPr>
        </p:nvSpPr>
        <p:spPr>
          <a:xfrm>
            <a:off x="6208090" y="2652818"/>
            <a:ext cx="4847413" cy="621564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lang="it-IT" sz="3333" kern="1200" dirty="0" smtClean="0">
                <a:gradFill flip="none" rotWithShape="1">
                  <a:gsLst>
                    <a:gs pos="0">
                      <a:srgbClr val="7E040B"/>
                    </a:gs>
                    <a:gs pos="100000">
                      <a:srgbClr val="670D65"/>
                    </a:gs>
                    <a:gs pos="33000">
                      <a:srgbClr val="F80C17"/>
                    </a:gs>
                    <a:gs pos="66000">
                      <a:srgbClr val="FA651C"/>
                    </a:gs>
                  </a:gsLst>
                  <a:lin ang="0" scaled="1"/>
                  <a:tileRect/>
                </a:gradFill>
                <a:latin typeface="+mj-lt"/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it-IT" dirty="0"/>
              <a:t>Sezione n°</a:t>
            </a:r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6208090" y="3274380"/>
            <a:ext cx="4847413" cy="603611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83"/>
            </a:lvl1pPr>
          </a:lstStyle>
          <a:p>
            <a:pPr lvl="0"/>
            <a:r>
              <a:rPr lang="it-IT" dirty="0"/>
              <a:t>TITOLO SEZIONE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023" y="1995224"/>
            <a:ext cx="3879941" cy="2490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9584100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5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262923" y="544077"/>
            <a:ext cx="11619853" cy="289401"/>
          </a:xfrm>
        </p:spPr>
        <p:txBody>
          <a:bodyPr/>
          <a:lstStyle>
            <a:lvl1pPr marL="0" marR="0" indent="0" algn="l" defTabSz="1219091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2083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it-IT" dirty="0"/>
              <a:t>Inserisci il sottotitolo</a:t>
            </a:r>
          </a:p>
        </p:txBody>
      </p:sp>
    </p:spTree>
    <p:extLst>
      <p:ext uri="{BB962C8B-B14F-4D97-AF65-F5344CB8AC3E}">
        <p14:creationId xmlns:p14="http://schemas.microsoft.com/office/powerpoint/2010/main" val="73221585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>
            <a:lvl1pPr>
              <a:defRPr sz="2500">
                <a:gradFill flip="none" rotWithShape="1">
                  <a:gsLst>
                    <a:gs pos="0">
                      <a:srgbClr val="7F030B"/>
                    </a:gs>
                    <a:gs pos="100000">
                      <a:srgbClr val="6C146A"/>
                    </a:gs>
                    <a:gs pos="33000">
                      <a:srgbClr val="F80C17"/>
                    </a:gs>
                    <a:gs pos="66000">
                      <a:srgbClr val="FA651C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21755" y="1668608"/>
            <a:ext cx="10948492" cy="4223616"/>
          </a:xfrm>
        </p:spPr>
        <p:txBody>
          <a:bodyPr/>
          <a:lstStyle>
            <a:lvl1pPr>
              <a:buClr>
                <a:srgbClr val="364E67"/>
              </a:buClr>
              <a:defRPr sz="1875">
                <a:solidFill>
                  <a:srgbClr val="364E67"/>
                </a:solidFill>
              </a:defRPr>
            </a:lvl1pPr>
            <a:lvl2pPr>
              <a:buClr>
                <a:srgbClr val="364E67"/>
              </a:buClr>
              <a:defRPr sz="1667">
                <a:solidFill>
                  <a:srgbClr val="364E67"/>
                </a:solidFill>
              </a:defRPr>
            </a:lvl2pPr>
            <a:lvl3pPr>
              <a:buClr>
                <a:srgbClr val="364E67"/>
              </a:buClr>
              <a:defRPr sz="1459">
                <a:solidFill>
                  <a:srgbClr val="364E67"/>
                </a:solidFill>
              </a:defRPr>
            </a:lvl3pPr>
            <a:lvl4pPr>
              <a:buClr>
                <a:srgbClr val="364E67"/>
              </a:buClr>
              <a:defRPr sz="1249">
                <a:solidFill>
                  <a:srgbClr val="364E67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7818" y="5901043"/>
            <a:ext cx="5351333" cy="347283"/>
          </a:xfrm>
        </p:spPr>
        <p:txBody>
          <a:bodyPr anchor="b"/>
          <a:lstStyle>
            <a:lvl1pPr marL="0" indent="0">
              <a:buNone/>
              <a:defRPr sz="1041">
                <a:solidFill>
                  <a:srgbClr val="364E67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7723529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>
            <a:lvl1pPr>
              <a:defRPr sz="2500">
                <a:gradFill flip="none" rotWithShape="1">
                  <a:gsLst>
                    <a:gs pos="0">
                      <a:srgbClr val="7F030B"/>
                    </a:gs>
                    <a:gs pos="100000">
                      <a:srgbClr val="6C146A"/>
                    </a:gs>
                    <a:gs pos="33000">
                      <a:srgbClr val="F80C17"/>
                    </a:gs>
                    <a:gs pos="66000">
                      <a:srgbClr val="FA651C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21755" y="1668608"/>
            <a:ext cx="10948492" cy="4223616"/>
          </a:xfrm>
        </p:spPr>
        <p:txBody>
          <a:bodyPr/>
          <a:lstStyle>
            <a:lvl1pPr>
              <a:buClr>
                <a:srgbClr val="364E67"/>
              </a:buClr>
              <a:defRPr sz="1875">
                <a:solidFill>
                  <a:srgbClr val="364E67"/>
                </a:solidFill>
              </a:defRPr>
            </a:lvl1pPr>
            <a:lvl2pPr>
              <a:buClr>
                <a:srgbClr val="364E67"/>
              </a:buClr>
              <a:defRPr sz="1667">
                <a:solidFill>
                  <a:srgbClr val="364E67"/>
                </a:solidFill>
              </a:defRPr>
            </a:lvl2pPr>
            <a:lvl3pPr>
              <a:buClr>
                <a:srgbClr val="364E67"/>
              </a:buClr>
              <a:defRPr sz="1459">
                <a:solidFill>
                  <a:srgbClr val="364E67"/>
                </a:solidFill>
              </a:defRPr>
            </a:lvl3pPr>
            <a:lvl4pPr>
              <a:buClr>
                <a:srgbClr val="364E67"/>
              </a:buClr>
              <a:defRPr sz="1249">
                <a:solidFill>
                  <a:srgbClr val="364E67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0069515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iagonal Bubbl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48781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757" y="1668611"/>
            <a:ext cx="5353596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64E67"/>
                </a:solidFill>
              </a:defRPr>
            </a:lvl1pPr>
            <a:lvl2pPr>
              <a:defRPr sz="1667">
                <a:solidFill>
                  <a:srgbClr val="364E67"/>
                </a:solidFill>
              </a:defRPr>
            </a:lvl2pPr>
            <a:lvl3pPr>
              <a:defRPr sz="1459">
                <a:solidFill>
                  <a:srgbClr val="364E67"/>
                </a:solidFill>
              </a:defRPr>
            </a:lvl3pPr>
            <a:lvl4pPr>
              <a:defRPr sz="1249">
                <a:solidFill>
                  <a:srgbClr val="364E67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2504" y="1668611"/>
            <a:ext cx="5347745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64E67"/>
                </a:solidFill>
              </a:defRPr>
            </a:lvl1pPr>
            <a:lvl2pPr>
              <a:defRPr sz="1667">
                <a:solidFill>
                  <a:srgbClr val="364E67"/>
                </a:solidFill>
              </a:defRPr>
            </a:lvl2pPr>
            <a:lvl3pPr>
              <a:defRPr sz="1459">
                <a:solidFill>
                  <a:srgbClr val="364E67"/>
                </a:solidFill>
              </a:defRPr>
            </a:lvl3pPr>
            <a:lvl4pPr>
              <a:defRPr sz="1249">
                <a:solidFill>
                  <a:srgbClr val="364E67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7818" y="5901043"/>
            <a:ext cx="5351333" cy="347283"/>
          </a:xfrm>
        </p:spPr>
        <p:txBody>
          <a:bodyPr anchor="b"/>
          <a:lstStyle>
            <a:lvl1pPr marL="0" indent="0">
              <a:buNone/>
              <a:defRPr sz="1041">
                <a:solidFill>
                  <a:srgbClr val="364E67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908827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208783" y="1341172"/>
            <a:ext cx="4557324" cy="4554360"/>
          </a:xfrm>
          <a:prstGeom prst="rect">
            <a:avLst/>
          </a:prstGeom>
          <a:gradFill flip="none" rotWithShape="1">
            <a:gsLst>
              <a:gs pos="0">
                <a:srgbClr val="88A0BB">
                  <a:alpha val="30000"/>
                </a:srgbClr>
              </a:gs>
              <a:gs pos="100000">
                <a:srgbClr val="CFE1DF">
                  <a:alpha val="30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0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75" dirty="0">
              <a:solidFill>
                <a:srgbClr val="FFFFFF"/>
              </a:solidFill>
            </a:endParaRPr>
          </a:p>
        </p:txBody>
      </p:sp>
      <p:pic>
        <p:nvPicPr>
          <p:cNvPr id="6" name="Picture 6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515" y="1332903"/>
            <a:ext cx="4572207" cy="913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2504" y="1668611"/>
            <a:ext cx="5347745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64E67"/>
                </a:solidFill>
              </a:defRPr>
            </a:lvl1pPr>
            <a:lvl2pPr>
              <a:defRPr sz="1667">
                <a:solidFill>
                  <a:srgbClr val="364E67"/>
                </a:solidFill>
              </a:defRPr>
            </a:lvl2pPr>
            <a:lvl3pPr>
              <a:defRPr sz="1459">
                <a:solidFill>
                  <a:srgbClr val="364E67"/>
                </a:solidFill>
              </a:defRPr>
            </a:lvl3pPr>
            <a:lvl4pPr>
              <a:defRPr sz="1249">
                <a:solidFill>
                  <a:srgbClr val="364E67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0523002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208783" y="1341172"/>
            <a:ext cx="4557324" cy="4554360"/>
          </a:xfrm>
          <a:prstGeom prst="rect">
            <a:avLst/>
          </a:prstGeom>
          <a:gradFill flip="none" rotWithShape="1">
            <a:gsLst>
              <a:gs pos="0">
                <a:srgbClr val="88A0BB">
                  <a:alpha val="30000"/>
                </a:srgbClr>
              </a:gs>
              <a:gs pos="100000">
                <a:srgbClr val="CFE1DF">
                  <a:alpha val="30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0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75" dirty="0">
              <a:solidFill>
                <a:srgbClr val="FFFFFF"/>
              </a:solidFill>
            </a:endParaRPr>
          </a:p>
        </p:txBody>
      </p:sp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515" y="1332903"/>
            <a:ext cx="4572207" cy="913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6475502" y="1341172"/>
            <a:ext cx="4557324" cy="4554360"/>
          </a:xfrm>
          <a:prstGeom prst="rect">
            <a:avLst/>
          </a:prstGeom>
          <a:gradFill flip="none" rotWithShape="1">
            <a:gsLst>
              <a:gs pos="0">
                <a:srgbClr val="88A0BB">
                  <a:alpha val="30000"/>
                </a:srgbClr>
              </a:gs>
              <a:gs pos="100000">
                <a:srgbClr val="CFE1DF">
                  <a:alpha val="30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0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75" dirty="0">
              <a:solidFill>
                <a:srgbClr val="FFFFFF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0544" y="1332903"/>
            <a:ext cx="4572205" cy="913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238068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351679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7818" y="5901043"/>
            <a:ext cx="5351333" cy="347283"/>
          </a:xfrm>
        </p:spPr>
        <p:txBody>
          <a:bodyPr anchor="b"/>
          <a:lstStyle>
            <a:lvl1pPr marL="0" indent="0">
              <a:buNone/>
              <a:defRPr sz="1041">
                <a:solidFill>
                  <a:srgbClr val="364E67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7083435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97024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1" y="1509715"/>
            <a:ext cx="11032068" cy="40183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2039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56" y="1658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6" y="1658"/>
                        <a:ext cx="1653" cy="16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>
            <a:lvl1pPr>
              <a:defRPr lang="en-GB" sz="2916" kern="1200" dirty="0">
                <a:gradFill>
                  <a:gsLst>
                    <a:gs pos="100000">
                      <a:srgbClr val="0866C4"/>
                    </a:gs>
                    <a:gs pos="0">
                      <a:srgbClr val="0726A7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79801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4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7" name="Ogget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4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titolo 1"/>
          <p:cNvSpPr>
            <a:spLocks noGrp="1"/>
          </p:cNvSpPr>
          <p:nvPr>
            <p:ph type="title"/>
          </p:nvPr>
        </p:nvSpPr>
        <p:spPr>
          <a:xfrm>
            <a:off x="769818" y="176502"/>
            <a:ext cx="10644556" cy="493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53643" rIns="0" bIns="53643" anchor="t" anchorCtr="0">
            <a:spAutoFit/>
          </a:bodyPr>
          <a:lstStyle>
            <a:lvl1pPr>
              <a:spcAft>
                <a:spcPts val="312"/>
              </a:spcAft>
              <a:defRPr lang="en-US" dirty="0"/>
            </a:lvl1pPr>
          </a:lstStyle>
          <a:p>
            <a:pPr marL="0" lvl="0" defTabSz="558734">
              <a:buFont typeface="Arial" pitchFamily="34" charset="0"/>
            </a:pPr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titolo</a:t>
            </a:r>
            <a:endParaRPr lang="en-US" noProof="0" dirty="0"/>
          </a:p>
        </p:txBody>
      </p:sp>
      <p:sp>
        <p:nvSpPr>
          <p:cNvPr id="4" name="CasellaDiTesto 3"/>
          <p:cNvSpPr txBox="1"/>
          <p:nvPr userDrawn="1"/>
        </p:nvSpPr>
        <p:spPr>
          <a:xfrm>
            <a:off x="1" y="6381414"/>
            <a:ext cx="777291" cy="476671"/>
          </a:xfrm>
          <a:prstGeom prst="rect">
            <a:avLst/>
          </a:prstGeom>
          <a:noFill/>
        </p:spPr>
        <p:txBody>
          <a:bodyPr wrap="square" lIns="111755" tIns="55876" rIns="111755" bIns="55876" rtlCol="0" anchor="ctr" anchorCtr="0">
            <a:noAutofit/>
          </a:bodyPr>
          <a:lstStyle/>
          <a:p>
            <a:pPr algn="ctr" defTabSz="558734"/>
            <a:fld id="{1551D4C6-0AC5-3440-9C81-75DD91A7E944}" type="slidenum">
              <a:rPr lang="en-US" sz="1249">
                <a:solidFill>
                  <a:srgbClr val="666666"/>
                </a:solidFill>
                <a:latin typeface="Sky Text"/>
              </a:rPr>
              <a:pPr algn="ctr" defTabSz="558734"/>
              <a:t>‹#›</a:t>
            </a:fld>
            <a:endParaRPr lang="en-US" sz="1249" dirty="0">
              <a:solidFill>
                <a:srgbClr val="666666"/>
              </a:solidFill>
              <a:latin typeface="Sky Text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1221155" y="1314890"/>
            <a:ext cx="9749693" cy="3816351"/>
          </a:xfrm>
          <a:prstGeom prst="rect">
            <a:avLst/>
          </a:prstGeom>
        </p:spPr>
        <p:txBody>
          <a:bodyPr/>
          <a:lstStyle>
            <a:lvl1pPr marL="188499" indent="-188499">
              <a:spcBef>
                <a:spcPts val="312"/>
              </a:spcBef>
              <a:spcAft>
                <a:spcPts val="312"/>
              </a:spcAft>
              <a:buClr>
                <a:srgbClr val="0062A9"/>
              </a:buClr>
              <a:buSzPct val="120000"/>
              <a:defRPr sz="1875">
                <a:latin typeface="Sky Text" panose="020B0506040202020204" pitchFamily="34" charset="0"/>
              </a:defRPr>
            </a:lvl1pPr>
            <a:lvl2pPr marL="467940" indent="-190153">
              <a:spcBef>
                <a:spcPts val="312"/>
              </a:spcBef>
              <a:spcAft>
                <a:spcPts val="312"/>
              </a:spcAft>
              <a:buClr>
                <a:srgbClr val="0062A9"/>
              </a:buClr>
              <a:buFont typeface="Sky Text" panose="020B0506040202020204" pitchFamily="34" charset="0"/>
              <a:buChar char="–"/>
              <a:defRPr sz="1667">
                <a:latin typeface="Sky Text" panose="020B0506040202020204" pitchFamily="34" charset="0"/>
              </a:defRPr>
            </a:lvl2pPr>
            <a:lvl3pPr marL="745728" indent="-188499">
              <a:spcBef>
                <a:spcPts val="312"/>
              </a:spcBef>
              <a:spcAft>
                <a:spcPts val="312"/>
              </a:spcAft>
              <a:buClr>
                <a:srgbClr val="0062A9"/>
              </a:buClr>
              <a:buFont typeface="Wingdings" panose="05000000000000000000" pitchFamily="2" charset="2"/>
              <a:buChar char="§"/>
              <a:defRPr sz="1459">
                <a:latin typeface="Sky Text" panose="020B0506040202020204" pitchFamily="34" charset="0"/>
              </a:defRPr>
            </a:lvl3pPr>
            <a:lvl4pPr>
              <a:buClr>
                <a:srgbClr val="0062A9"/>
              </a:buClr>
              <a:defRPr>
                <a:latin typeface="Sky Text" panose="020B0506040202020204" pitchFamily="34" charset="0"/>
              </a:defRPr>
            </a:lvl4pPr>
            <a:lvl5pPr>
              <a:buClr>
                <a:srgbClr val="0062A9"/>
              </a:buClr>
              <a:defRPr>
                <a:latin typeface="Sky Text" panose="020B0506040202020204" pitchFamily="34" charset="0"/>
              </a:defRPr>
            </a:lvl5pPr>
          </a:lstStyle>
          <a:p>
            <a:pPr lvl="0"/>
            <a:r>
              <a:rPr lang="en-US" noProof="0" dirty="0"/>
              <a:t>First level text </a:t>
            </a:r>
          </a:p>
          <a:p>
            <a:pPr lvl="1"/>
            <a:r>
              <a:rPr lang="en-US" noProof="0" dirty="0"/>
              <a:t>Second level text</a:t>
            </a:r>
          </a:p>
          <a:p>
            <a:pPr lvl="2"/>
            <a:r>
              <a:rPr lang="en-US" noProof="0" dirty="0"/>
              <a:t>Third level text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1" hasCustomPrompt="1"/>
          </p:nvPr>
        </p:nvSpPr>
        <p:spPr>
          <a:xfrm>
            <a:off x="769828" y="6555660"/>
            <a:ext cx="9313985" cy="144207"/>
          </a:xfrm>
          <a:prstGeom prst="rect">
            <a:avLst/>
          </a:prstGeom>
          <a:noFill/>
        </p:spPr>
        <p:txBody>
          <a:bodyPr wrap="square" lIns="107287" tIns="0" rIns="107287" bIns="0" rtlCol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lang="it-IT" sz="937" smtClean="0">
                <a:solidFill>
                  <a:srgbClr val="666666"/>
                </a:solidFill>
                <a:latin typeface="Sky Text"/>
              </a:defRPr>
            </a:lvl1pPr>
            <a:lvl2pPr>
              <a:defRPr lang="it-IT" sz="1875" smtClean="0"/>
            </a:lvl2pPr>
            <a:lvl3pPr>
              <a:defRPr lang="it-IT" sz="1875" smtClean="0"/>
            </a:lvl3pPr>
            <a:lvl4pPr>
              <a:defRPr lang="it-IT" sz="1875" smtClean="0"/>
            </a:lvl4pPr>
            <a:lvl5pPr>
              <a:defRPr lang="en-US" sz="1875"/>
            </a:lvl5pPr>
          </a:lstStyle>
          <a:p>
            <a:pPr marL="0" lvl="0" defTabSz="558734"/>
            <a:r>
              <a:rPr lang="it-IT" dirty="0"/>
              <a:t>Source: -</a:t>
            </a:r>
          </a:p>
        </p:txBody>
      </p:sp>
      <p:sp>
        <p:nvSpPr>
          <p:cNvPr id="14" name="Segnaposto testo 9"/>
          <p:cNvSpPr>
            <a:spLocks noGrp="1"/>
          </p:cNvSpPr>
          <p:nvPr>
            <p:ph type="body" sz="quarter" idx="12" hasCustomPrompt="1"/>
          </p:nvPr>
        </p:nvSpPr>
        <p:spPr>
          <a:xfrm>
            <a:off x="769828" y="6411950"/>
            <a:ext cx="9313985" cy="144207"/>
          </a:xfrm>
          <a:prstGeom prst="rect">
            <a:avLst/>
          </a:prstGeom>
          <a:noFill/>
        </p:spPr>
        <p:txBody>
          <a:bodyPr wrap="square" lIns="107287" tIns="0" rIns="107287" bIns="0" rtlCol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lang="it-IT" sz="937" smtClean="0">
                <a:solidFill>
                  <a:srgbClr val="666666"/>
                </a:solidFill>
                <a:latin typeface="Sky Text"/>
              </a:defRPr>
            </a:lvl1pPr>
            <a:lvl2pPr>
              <a:defRPr lang="it-IT" sz="1875" smtClean="0"/>
            </a:lvl2pPr>
            <a:lvl3pPr>
              <a:defRPr lang="it-IT" sz="1875" smtClean="0"/>
            </a:lvl3pPr>
            <a:lvl4pPr>
              <a:defRPr lang="it-IT" sz="1875" smtClean="0"/>
            </a:lvl4pPr>
            <a:lvl5pPr>
              <a:defRPr lang="en-US" sz="1875"/>
            </a:lvl5pPr>
          </a:lstStyle>
          <a:p>
            <a:pPr marL="0" lvl="0" defTabSz="558734"/>
            <a:r>
              <a:rPr lang="it-IT" dirty="0"/>
              <a:t>1. -</a:t>
            </a:r>
          </a:p>
        </p:txBody>
      </p:sp>
    </p:spTree>
    <p:extLst>
      <p:ext uri="{BB962C8B-B14F-4D97-AF65-F5344CB8AC3E}">
        <p14:creationId xmlns:p14="http://schemas.microsoft.com/office/powerpoint/2010/main" val="42232732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tangolo 10"/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6" tIns="60959" rIns="121916" bIns="60959" rtlCol="0" anchor="ctr"/>
          <a:lstStyle/>
          <a:p>
            <a:pPr algn="ctr" defTabSz="609546" fontAlgn="auto">
              <a:spcBef>
                <a:spcPts val="0"/>
              </a:spcBef>
              <a:spcAft>
                <a:spcPts val="0"/>
              </a:spcAft>
            </a:pPr>
            <a:endParaRPr lang="it-IT" sz="1875">
              <a:solidFill>
                <a:prstClr val="white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4311269"/>
            <a:ext cx="10363200" cy="692152"/>
          </a:xfrm>
        </p:spPr>
        <p:txBody>
          <a:bodyPr/>
          <a:lstStyle>
            <a:lvl1pPr>
              <a:defRPr sz="3229" baseline="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1" y="5003423"/>
            <a:ext cx="8534400" cy="6226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70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cxnSp>
        <p:nvCxnSpPr>
          <p:cNvPr id="9" name="Connettore 1 8"/>
          <p:cNvCxnSpPr/>
          <p:nvPr userDrawn="1"/>
        </p:nvCxnSpPr>
        <p:spPr>
          <a:xfrm>
            <a:off x="914400" y="5003421"/>
            <a:ext cx="10363200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ttangolo 9"/>
          <p:cNvSpPr/>
          <p:nvPr userDrawn="1"/>
        </p:nvSpPr>
        <p:spPr>
          <a:xfrm>
            <a:off x="10172702" y="5816600"/>
            <a:ext cx="2019300" cy="1041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6" tIns="60959" rIns="121916" bIns="60959" rtlCol="0" anchor="ctr"/>
          <a:lstStyle/>
          <a:p>
            <a:pPr algn="ctr" defTabSz="609546" fontAlgn="auto">
              <a:spcBef>
                <a:spcPts val="0"/>
              </a:spcBef>
              <a:spcAft>
                <a:spcPts val="0"/>
              </a:spcAft>
            </a:pPr>
            <a:endParaRPr lang="it-IT" sz="1875">
              <a:solidFill>
                <a:prstClr val="white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7" y="711200"/>
            <a:ext cx="5353049" cy="3435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69450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iagonal Bubbles (gold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62349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+ Sottotitolo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3229"/>
            </a:lvl1pPr>
          </a:lstStyle>
          <a:p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titolo</a:t>
            </a:r>
            <a:endParaRPr lang="en-US" noProof="0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287868" y="609601"/>
            <a:ext cx="11616267" cy="436880"/>
          </a:xfrm>
        </p:spPr>
        <p:txBody>
          <a:bodyPr anchor="t">
            <a:noAutofit/>
          </a:bodyPr>
          <a:lstStyle>
            <a:lvl1pPr marL="0" indent="0" algn="ctr">
              <a:buNone/>
              <a:defRPr sz="2396"/>
            </a:lvl1pPr>
          </a:lstStyle>
          <a:p>
            <a:pPr lvl="0"/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sottotitolo</a:t>
            </a:r>
            <a:endParaRPr lang="en-US" noProof="0" dirty="0"/>
          </a:p>
        </p:txBody>
      </p:sp>
      <p:sp>
        <p:nvSpPr>
          <p:cNvPr id="6" name="Rettangolo 5"/>
          <p:cNvSpPr/>
          <p:nvPr userDrawn="1"/>
        </p:nvSpPr>
        <p:spPr>
          <a:xfrm>
            <a:off x="10172702" y="5816600"/>
            <a:ext cx="2019300" cy="1041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6" tIns="60959" rIns="121916" bIns="60959" rtlCol="0" anchor="ctr"/>
          <a:lstStyle/>
          <a:p>
            <a:pPr algn="ctr" defTabSz="609546" fontAlgn="auto">
              <a:spcBef>
                <a:spcPts val="0"/>
              </a:spcBef>
              <a:spcAft>
                <a:spcPts val="0"/>
              </a:spcAft>
            </a:pPr>
            <a:endParaRPr lang="it-IT" sz="1875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963387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2" cy="1060039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755" y="1668611"/>
            <a:ext cx="5353596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9">
                <a:solidFill>
                  <a:srgbClr val="323232"/>
                </a:solidFill>
              </a:defRPr>
            </a:lvl3pPr>
            <a:lvl4pPr>
              <a:defRPr sz="1249">
                <a:solidFill>
                  <a:srgbClr val="323232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2502" y="1668611"/>
            <a:ext cx="5347745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9">
                <a:solidFill>
                  <a:srgbClr val="323232"/>
                </a:solidFill>
              </a:defRPr>
            </a:lvl3pPr>
            <a:lvl4pPr>
              <a:defRPr sz="1249">
                <a:solidFill>
                  <a:srgbClr val="323232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772877" y="6267316"/>
            <a:ext cx="646249" cy="267315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rgbClr val="323232"/>
                </a:solidFill>
                <a:latin typeface="Sky Text Medium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rgbClr val="323232"/>
              </a:solidFill>
              <a:latin typeface="Sky Text Medium"/>
              <a:ea typeface="Sky Text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0180" y="5892224"/>
            <a:ext cx="4872592" cy="347283"/>
          </a:xfrm>
        </p:spPr>
        <p:txBody>
          <a:bodyPr anchor="b"/>
          <a:lstStyle>
            <a:lvl1pPr marL="0" indent="0">
              <a:buNone/>
              <a:defRPr sz="1041">
                <a:solidFill>
                  <a:srgbClr val="000000"/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pic>
        <p:nvPicPr>
          <p:cNvPr id="11" name="Picture 6" descr="Sky-O2-glassmark (no shadow)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738" y="5766465"/>
            <a:ext cx="994820" cy="703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7495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+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200"/>
            </a:lvl1pPr>
          </a:lstStyle>
          <a:p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titolo</a:t>
            </a:r>
            <a:endParaRPr lang="en-US" noProof="0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0" y="6492876"/>
            <a:ext cx="518160" cy="365125"/>
          </a:xfrm>
        </p:spPr>
        <p:txBody>
          <a:bodyPr/>
          <a:lstStyle>
            <a:lvl1pPr algn="ctr">
              <a:defRPr/>
            </a:lvl1pPr>
          </a:lstStyle>
          <a:p>
            <a:fld id="{1551D4C6-0AC5-3440-9C81-75DD91A7E944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287868" y="609601"/>
            <a:ext cx="11616267" cy="436880"/>
          </a:xfrm>
        </p:spPr>
        <p:txBody>
          <a:bodyPr anchor="t">
            <a:noAutofit/>
          </a:bodyPr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sotto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68939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o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833396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631701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Fu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erlay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"/>
            <a:ext cx="6091767" cy="6872817"/>
          </a:xfrm>
          <a:solidFill>
            <a:srgbClr val="0A265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Change Picture on Home tab</a:t>
            </a:r>
            <a:br>
              <a:rPr lang="en-US" dirty="0"/>
            </a:br>
            <a:r>
              <a:rPr lang="en-US" dirty="0"/>
              <a:t>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</a:t>
            </a:r>
            <a:br>
              <a:rPr lang="en-US" baseline="0" dirty="0"/>
            </a:br>
            <a:r>
              <a:rPr lang="en-US" baseline="0" dirty="0"/>
              <a:t>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</a:t>
            </a:r>
            <a:br>
              <a:rPr lang="en-US" dirty="0"/>
            </a:br>
            <a:r>
              <a:rPr lang="en-US" dirty="0"/>
              <a:t>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0A2756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013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- Half Picture (white tex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"/>
            <a:ext cx="6108192" cy="6872817"/>
          </a:xfr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091768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5181600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3200" b="1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  <p:sp>
        <p:nvSpPr>
          <p:cNvPr id="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i="1" dirty="0">
                <a:solidFill>
                  <a:schemeClr val="bg2">
                    <a:lumMod val="75000"/>
                  </a:schemeClr>
                </a:solidFill>
                <a:latin typeface="HelveticaNeueLT W1G 45 Lt" panose="020B0403020202020204" pitchFamily="34" charset="0"/>
              </a:rPr>
              <a:t>Confidential and proprietary information of GroupM. Any unauthorized reproduction prohibited. All rights reserved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0A2756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920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- Half Picture (dark text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6108192" cy="6872817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F7066DD-81B1-4857-8AC7-4EF42743E586}" type="slidenum">
              <a:rPr lang="en-GB" smtClean="0">
                <a:solidFill>
                  <a:srgbClr val="B9B9B9"/>
                </a:solidFill>
              </a:rPr>
              <a:pPr/>
              <a:t>‹#›</a:t>
            </a:fld>
            <a:endParaRPr lang="en-GB" dirty="0">
              <a:solidFill>
                <a:srgbClr val="B9B9B9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091768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5181600" cy="2781733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GB" dirty="0"/>
              <a:t>DIVIDER/STORY TITLE</a:t>
            </a:r>
          </a:p>
        </p:txBody>
      </p:sp>
      <p:sp>
        <p:nvSpPr>
          <p:cNvPr id="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0A2756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601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>
            <a:lvl1pPr>
              <a:defRPr lang="en-GB" b="1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942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+ Title +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H_Logo_Colour.ps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8003" y="6309353"/>
            <a:ext cx="432000" cy="43308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0233" y="6441823"/>
            <a:ext cx="1080000" cy="2190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V="1">
            <a:off x="11135350" y="6320440"/>
            <a:ext cx="0" cy="39624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922338" y="6190328"/>
            <a:ext cx="10820400" cy="1897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34316" y="540182"/>
            <a:ext cx="10972800" cy="810636"/>
          </a:xfrm>
          <a:prstGeom prst="rect">
            <a:avLst/>
          </a:prstGeom>
        </p:spPr>
        <p:txBody>
          <a:bodyPr vert="horz" wrap="none" lIns="0" tIns="0" rIns="0" bIns="0"/>
          <a:lstStyle>
            <a:lvl1pPr algn="l">
              <a:defRPr sz="3200" spc="-1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Insert text here</a:t>
            </a:r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934315" y="1535406"/>
            <a:ext cx="9999229" cy="3994867"/>
          </a:xfrm>
          <a:prstGeom prst="rect">
            <a:avLst/>
          </a:prstGeom>
        </p:spPr>
        <p:txBody>
          <a:bodyPr vert="horz" wrap="square" lIns="0" tIns="0" rIns="0" bIns="0"/>
          <a:lstStyle>
            <a:lvl1pPr marL="0" indent="0">
              <a:spcBef>
                <a:spcPts val="0"/>
              </a:spcBef>
              <a:spcAft>
                <a:spcPts val="1100"/>
              </a:spcAft>
              <a:buFontTx/>
              <a:buNone/>
              <a:defRPr sz="2000">
                <a:solidFill>
                  <a:srgbClr val="8C8C8C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3pPr>
            <a:lvl4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4pPr>
            <a:lvl5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-11546" y="2"/>
            <a:ext cx="12240000" cy="150090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extBox 14"/>
          <p:cNvSpPr txBox="1"/>
          <p:nvPr userDrawn="1"/>
        </p:nvSpPr>
        <p:spPr>
          <a:xfrm>
            <a:off x="922338" y="6452666"/>
            <a:ext cx="449321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/>
                <a:cs typeface="Arial"/>
              </a:rPr>
              <a:t>SCOPE OF WORK, SERVICES &amp; ECONOMICS FOR HUAWEI | 19TH JANUARY 2017</a:t>
            </a:r>
          </a:p>
        </p:txBody>
      </p:sp>
    </p:spTree>
    <p:extLst>
      <p:ext uri="{BB962C8B-B14F-4D97-AF65-F5344CB8AC3E}">
        <p14:creationId xmlns:p14="http://schemas.microsoft.com/office/powerpoint/2010/main" val="34425050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8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7376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73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788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88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1627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5298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006000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5381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114310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148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+ Titl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H_Logo_Colour.ps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8003" y="6309353"/>
            <a:ext cx="432000" cy="43308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0233" y="6441823"/>
            <a:ext cx="1080000" cy="2190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V="1">
            <a:off x="11135350" y="6320440"/>
            <a:ext cx="0" cy="39624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V="1">
            <a:off x="922338" y="6190328"/>
            <a:ext cx="10820400" cy="1897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20"/>
          <p:cNvSpPr>
            <a:spLocks noGrp="1"/>
          </p:cNvSpPr>
          <p:nvPr>
            <p:ph type="title" hasCustomPrompt="1"/>
          </p:nvPr>
        </p:nvSpPr>
        <p:spPr>
          <a:xfrm>
            <a:off x="934316" y="540182"/>
            <a:ext cx="10972800" cy="810636"/>
          </a:xfrm>
          <a:prstGeom prst="rect">
            <a:avLst/>
          </a:prstGeom>
        </p:spPr>
        <p:txBody>
          <a:bodyPr vert="horz" wrap="none" lIns="0" tIns="0" rIns="0" bIns="0"/>
          <a:lstStyle>
            <a:lvl1pPr algn="l">
              <a:defRPr sz="3200" spc="-1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Insert text here</a:t>
            </a:r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-11546" y="2"/>
            <a:ext cx="12240000" cy="150090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extBox 14"/>
          <p:cNvSpPr txBox="1"/>
          <p:nvPr userDrawn="1"/>
        </p:nvSpPr>
        <p:spPr>
          <a:xfrm>
            <a:off x="922338" y="6452666"/>
            <a:ext cx="449321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/>
                <a:cs typeface="Arial"/>
              </a:rPr>
              <a:t>SCOPE OF WORK, SERVICES &amp; ECONOMICS FOR HUAWEI | 19TH JANUARY 2017</a:t>
            </a:r>
          </a:p>
        </p:txBody>
      </p:sp>
    </p:spTree>
    <p:extLst>
      <p:ext uri="{BB962C8B-B14F-4D97-AF65-F5344CB8AC3E}">
        <p14:creationId xmlns:p14="http://schemas.microsoft.com/office/powerpoint/2010/main" val="26073760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2155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6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961675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161846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045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683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460021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902864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tx1"/>
                </a:solidFill>
              </a:defRPr>
            </a:lvl2pPr>
            <a:lvl3pPr>
              <a:defRPr sz="2400" b="1">
                <a:solidFill>
                  <a:schemeClr val="tx1"/>
                </a:solidFill>
              </a:defRPr>
            </a:lvl3pPr>
            <a:lvl4pPr>
              <a:defRPr sz="2400" b="1">
                <a:solidFill>
                  <a:schemeClr val="tx1"/>
                </a:solidFill>
              </a:defRPr>
            </a:lvl4pPr>
            <a:lvl5pPr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177252" y="1509907"/>
            <a:ext cx="2449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11125" y="1509907"/>
            <a:ext cx="0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793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177252" y="1509907"/>
            <a:ext cx="2449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11125" y="1509907"/>
            <a:ext cx="0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tx1"/>
                </a:solidFill>
              </a:defRPr>
            </a:lvl2pPr>
            <a:lvl3pPr>
              <a:defRPr sz="2400" b="1">
                <a:solidFill>
                  <a:schemeClr val="tx1"/>
                </a:solidFill>
              </a:defRPr>
            </a:lvl3pPr>
            <a:lvl4pPr>
              <a:defRPr sz="2400" b="1">
                <a:solidFill>
                  <a:schemeClr val="tx1"/>
                </a:solidFill>
              </a:defRPr>
            </a:lvl4pPr>
            <a:lvl5pPr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1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9989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76000" y="1500960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1pPr>
              <a:defRPr lang="en-GB" dirty="0" smtClean="0">
                <a:solidFill>
                  <a:schemeClr val="tx1"/>
                </a:solidFill>
              </a:defRPr>
            </a:lvl1pPr>
            <a:lvl2pPr>
              <a:defRPr lang="en-GB" dirty="0" smtClean="0">
                <a:solidFill>
                  <a:schemeClr val="accent2"/>
                </a:solidFill>
              </a:defRPr>
            </a:lvl2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GB" dirty="0" smtClean="0"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1"/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cxnSp>
        <p:nvCxnSpPr>
          <p:cNvPr id="11" name="Straight Connector 10"/>
          <p:cNvCxnSpPr/>
          <p:nvPr userDrawn="1"/>
        </p:nvCxnSpPr>
        <p:spPr>
          <a:xfrm>
            <a:off x="80112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682498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id slide here left heading + pic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0"/>
          <p:cNvSpPr>
            <a:spLocks noGrp="1"/>
          </p:cNvSpPr>
          <p:nvPr>
            <p:ph type="title" hasCustomPrompt="1"/>
          </p:nvPr>
        </p:nvSpPr>
        <p:spPr>
          <a:xfrm>
            <a:off x="934316" y="540182"/>
            <a:ext cx="10972800" cy="810636"/>
          </a:xfrm>
          <a:prstGeom prst="rect">
            <a:avLst/>
          </a:prstGeom>
        </p:spPr>
        <p:txBody>
          <a:bodyPr vert="horz" wrap="none" lIns="0" tIns="0" rIns="0" bIns="0"/>
          <a:lstStyle>
            <a:lvl1pPr algn="l">
              <a:defRPr sz="320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Insert text here</a:t>
            </a:r>
            <a:endParaRPr lang="en-US"/>
          </a:p>
        </p:txBody>
      </p:sp>
      <p:sp>
        <p:nvSpPr>
          <p:cNvPr id="3" name="Rectangle 18"/>
          <p:cNvSpPr/>
          <p:nvPr userDrawn="1"/>
        </p:nvSpPr>
        <p:spPr>
          <a:xfrm>
            <a:off x="-11546" y="2"/>
            <a:ext cx="12240000" cy="150090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4" name="Straight Connector 9"/>
          <p:cNvCxnSpPr/>
          <p:nvPr userDrawn="1"/>
        </p:nvCxnSpPr>
        <p:spPr>
          <a:xfrm flipV="1">
            <a:off x="11135350" y="6320440"/>
            <a:ext cx="0" cy="39624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1"/>
          <p:cNvCxnSpPr/>
          <p:nvPr userDrawn="1"/>
        </p:nvCxnSpPr>
        <p:spPr>
          <a:xfrm flipV="1">
            <a:off x="922338" y="6190328"/>
            <a:ext cx="10820400" cy="1897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14" descr="h_lo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9150" y="6318708"/>
            <a:ext cx="407160" cy="408178"/>
          </a:xfrm>
          <a:prstGeom prst="rect">
            <a:avLst/>
          </a:prstGeom>
        </p:spPr>
      </p:pic>
      <p:pic>
        <p:nvPicPr>
          <p:cNvPr id="11" name="Picture 15" descr="maxus-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0636" y="6436455"/>
            <a:ext cx="1057842" cy="214543"/>
          </a:xfrm>
          <a:prstGeom prst="rect">
            <a:avLst/>
          </a:prstGeom>
        </p:spPr>
      </p:pic>
      <p:sp>
        <p:nvSpPr>
          <p:cNvPr id="9" name="TextBox 14"/>
          <p:cNvSpPr txBox="1"/>
          <p:nvPr userDrawn="1"/>
        </p:nvSpPr>
        <p:spPr>
          <a:xfrm>
            <a:off x="922338" y="6452666"/>
            <a:ext cx="449321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solidFill>
                  <a:prstClr val="white"/>
                </a:solidFill>
                <a:latin typeface="Arial"/>
                <a:cs typeface="Arial"/>
              </a:rPr>
              <a:t>SCOPE OF WORK, SERVICES &amp; ECONOMICS FOR HUAWEI | 19TH JANUARY 2017</a:t>
            </a:r>
          </a:p>
        </p:txBody>
      </p:sp>
    </p:spTree>
    <p:extLst>
      <p:ext uri="{BB962C8B-B14F-4D97-AF65-F5344CB8AC3E}">
        <p14:creationId xmlns:p14="http://schemas.microsoft.com/office/powerpoint/2010/main" val="21664667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76000" y="1500960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80112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2"/>
                </a:solidFill>
              </a:defRPr>
            </a:lvl2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69515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24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Lines 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867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5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49199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031810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7487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8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9159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35745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52429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icture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3321" y="1894249"/>
            <a:ext cx="5181600" cy="608736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100233" cy="6864096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63321" y="2578101"/>
            <a:ext cx="5181600" cy="29358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770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y blank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/>
          <p:cNvPicPr>
            <a:picLocks noChangeAspect="1"/>
          </p:cNvPicPr>
          <p:nvPr userDrawn="1"/>
        </p:nvPicPr>
        <p:blipFill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0233" y="6441823"/>
            <a:ext cx="1080000" cy="219036"/>
          </a:xfrm>
          <a:prstGeom prst="rect">
            <a:avLst/>
          </a:prstGeom>
        </p:spPr>
      </p:pic>
      <p:cxnSp>
        <p:nvCxnSpPr>
          <p:cNvPr id="3" name="Straight Connector 9"/>
          <p:cNvCxnSpPr/>
          <p:nvPr userDrawn="1"/>
        </p:nvCxnSpPr>
        <p:spPr>
          <a:xfrm flipV="1">
            <a:off x="11135350" y="6320440"/>
            <a:ext cx="0" cy="39624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 flipV="1">
            <a:off x="922338" y="6190328"/>
            <a:ext cx="10820400" cy="1897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14"/>
          <p:cNvSpPr txBox="1"/>
          <p:nvPr userDrawn="1"/>
        </p:nvSpPr>
        <p:spPr>
          <a:xfrm>
            <a:off x="922338" y="6452666"/>
            <a:ext cx="485068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solidFill>
                  <a:prstClr val="white"/>
                </a:solidFill>
                <a:latin typeface="Arial"/>
                <a:cs typeface="Arial"/>
              </a:rPr>
              <a:t>CREDENTIALS | AGENCY PROFILE &amp; ADVANTAGES FOR HUAWEI | 19TH JANUARY 2017</a:t>
            </a:r>
          </a:p>
        </p:txBody>
      </p:sp>
      <p:pic>
        <p:nvPicPr>
          <p:cNvPr id="6" name="Picture 14" descr="h_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3125" y="6289960"/>
            <a:ext cx="420942" cy="421994"/>
          </a:xfrm>
          <a:prstGeom prst="rect">
            <a:avLst/>
          </a:prstGeom>
        </p:spPr>
      </p:pic>
      <p:sp>
        <p:nvSpPr>
          <p:cNvPr id="7" name="Title 20"/>
          <p:cNvSpPr>
            <a:spLocks noGrp="1"/>
          </p:cNvSpPr>
          <p:nvPr>
            <p:ph type="title" hasCustomPrompt="1"/>
          </p:nvPr>
        </p:nvSpPr>
        <p:spPr>
          <a:xfrm>
            <a:off x="934316" y="540182"/>
            <a:ext cx="10972800" cy="810636"/>
          </a:xfrm>
          <a:prstGeom prst="rect">
            <a:avLst/>
          </a:prstGeom>
        </p:spPr>
        <p:txBody>
          <a:bodyPr vert="horz" wrap="none" lIns="0" tIns="0" rIns="0" bIns="0"/>
          <a:lstStyle>
            <a:lvl1pPr algn="l">
              <a:defRPr sz="320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/>
              <a:t>Insert text here</a:t>
            </a:r>
            <a:endParaRPr lang="en-US" dirty="0"/>
          </a:p>
        </p:txBody>
      </p:sp>
      <p:sp>
        <p:nvSpPr>
          <p:cNvPr id="8" name="Rectangle 18"/>
          <p:cNvSpPr/>
          <p:nvPr userDrawn="1"/>
        </p:nvSpPr>
        <p:spPr>
          <a:xfrm>
            <a:off x="-11546" y="2"/>
            <a:ext cx="12240000" cy="150090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4520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icture (diagonal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3321" y="1894249"/>
            <a:ext cx="5181600" cy="608736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63321" y="2578101"/>
            <a:ext cx="5181600" cy="29358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206496" cy="68580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 flipH="1" flipV="1">
            <a:off x="2901836" y="0"/>
            <a:ext cx="3206496" cy="68580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grpSp>
        <p:nvGrpSpPr>
          <p:cNvPr id="10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672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1"/>
            <a:ext cx="6091767" cy="6872817"/>
          </a:xfrm>
          <a:solidFill>
            <a:schemeClr val="accent4"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 bIns="64008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/>
              <a:t>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br>
              <a:rPr lang="en-US" b="1" baseline="0" dirty="0"/>
            </a:br>
            <a:r>
              <a:rPr lang="en-US" baseline="0" dirty="0"/>
              <a:t>button on Home tab. </a:t>
            </a:r>
            <a:r>
              <a:rPr lang="en-US" dirty="0"/>
              <a:t>To switch color on overlay on left,  select it </a:t>
            </a:r>
            <a:br>
              <a:rPr lang="en-US" dirty="0"/>
            </a:br>
            <a:r>
              <a:rPr lang="en-US" dirty="0"/>
              <a:t>and use the Shape Fill button on Home tab. To add logo or switch </a:t>
            </a:r>
            <a:br>
              <a:rPr lang="en-US" dirty="0"/>
            </a:br>
            <a:r>
              <a:rPr lang="en-US" dirty="0"/>
              <a:t>logo color, use the Add Logo button on Home tab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20700" y="1933355"/>
            <a:ext cx="5181600" cy="431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>
              <a:spcAft>
                <a:spcPts val="1500"/>
              </a:spcAft>
              <a:defRPr/>
            </a:pPr>
            <a:r>
              <a:rPr lang="en-US" dirty="0">
                <a:solidFill>
                  <a:schemeClr val="bg1"/>
                </a:solidFill>
                <a:ea typeface="Times New Roman" panose="02020603050405020304" pitchFamily="18" charset="0"/>
              </a:rPr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20844" y="964451"/>
            <a:ext cx="5181600" cy="9411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016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/>
          </p:nvPr>
        </p:nvSpPr>
        <p:spPr>
          <a:xfrm>
            <a:off x="805465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1" name="Picture Placeholder 19"/>
          <p:cNvSpPr>
            <a:spLocks noGrp="1"/>
          </p:cNvSpPr>
          <p:nvPr>
            <p:ph type="pic" sz="quarter" idx="17"/>
          </p:nvPr>
        </p:nvSpPr>
        <p:spPr>
          <a:xfrm>
            <a:off x="3697895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2" name="Picture Placeholder 19"/>
          <p:cNvSpPr>
            <a:spLocks noGrp="1"/>
          </p:cNvSpPr>
          <p:nvPr>
            <p:ph type="pic" sz="quarter" idx="18"/>
          </p:nvPr>
        </p:nvSpPr>
        <p:spPr>
          <a:xfrm>
            <a:off x="6590323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/>
          </p:nvPr>
        </p:nvSpPr>
        <p:spPr>
          <a:xfrm>
            <a:off x="9482752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3393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515821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08249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300677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grpSp>
        <p:nvGrpSpPr>
          <p:cNvPr id="15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6500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On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2742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s and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</p:spPr>
        <p:txBody>
          <a:bodyPr/>
          <a:lstStyle>
            <a:lvl1pPr>
              <a:defRPr sz="2667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9378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09905"/>
            <a:ext cx="3793484" cy="44130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32171" y="6356357"/>
            <a:ext cx="1440160" cy="36512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80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80FF"/>
              </a:solidFill>
            </a:endParaRP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943872" y="1509905"/>
            <a:ext cx="6623712" cy="441128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fld id="{DAFB888B-BD74-4ACA-ADB1-AA39F6ABFC0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1759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A00ADA-D62E-4212-A178-0B08E780CE62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7881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134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- Light pictur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7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cument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429" y="6114812"/>
            <a:ext cx="8543924" cy="479609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CATION | DATE</a:t>
            </a:r>
            <a:endParaRPr lang="en-GB" dirty="0"/>
          </a:p>
        </p:txBody>
      </p:sp>
      <p:sp>
        <p:nvSpPr>
          <p:cNvPr id="6" name="Rettangolo 5"/>
          <p:cNvSpPr/>
          <p:nvPr userDrawn="1"/>
        </p:nvSpPr>
        <p:spPr>
          <a:xfrm>
            <a:off x="419926" y="6595191"/>
            <a:ext cx="9771617" cy="42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067" b="1" i="1" dirty="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nfidential and proprietary information of GroupM. Any unauthorized reproduction prohibited. All rights reserved.</a:t>
            </a:r>
            <a:endParaRPr lang="it-IT" sz="1067" dirty="0">
              <a:solidFill>
                <a:schemeClr val="bg1">
                  <a:lumMod val="75000"/>
                </a:schemeClr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067" i="1" dirty="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it-IT" sz="1067" dirty="0">
              <a:solidFill>
                <a:schemeClr val="bg1">
                  <a:lumMod val="75000"/>
                </a:schemeClr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1572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Fu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69400" cy="6858000"/>
          </a:xfr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9" name="Overlay"/>
          <p:cNvSpPr/>
          <p:nvPr userDrawn="1"/>
        </p:nvSpPr>
        <p:spPr>
          <a:xfrm>
            <a:off x="0" y="0"/>
            <a:ext cx="9180723" cy="6873376"/>
          </a:xfrm>
          <a:prstGeom prst="rect">
            <a:avLst/>
          </a:prstGeo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="0"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Change Picture on Home tab to add</a:t>
            </a:r>
            <a:r>
              <a:rPr lang="en-GB" dirty="0"/>
              <a:t> and Send to Back</a:t>
            </a:r>
            <a:r>
              <a:rPr lang="en-US" dirty="0"/>
              <a:t>. To switch</a:t>
            </a:r>
            <a:br>
              <a:rPr lang="en-US" dirty="0"/>
            </a:br>
            <a:r>
              <a:rPr lang="en-US" dirty="0"/>
              <a:t>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</a:t>
            </a:r>
            <a:br>
              <a:rPr lang="en-US" dirty="0"/>
            </a:br>
            <a:r>
              <a:rPr lang="en-US" dirty="0"/>
              <a:t>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27693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- replace background with image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609600" y="2768458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 sz="600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INSERT TEXT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336637" y="2805537"/>
            <a:ext cx="5345546" cy="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3336637" y="3792371"/>
            <a:ext cx="5345546" cy="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62566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598286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ot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>
                <a:solidFill>
                  <a:schemeClr val="tx1"/>
                </a:solidFill>
              </a:defRPr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4006255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703833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ots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789" y="-32368"/>
            <a:ext cx="12192000" cy="6858000"/>
          </a:xfrm>
          <a:prstGeom prst="rect">
            <a:avLst/>
          </a:prstGeom>
        </p:spPr>
      </p:pic>
      <p:grpSp>
        <p:nvGrpSpPr>
          <p:cNvPr id="15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520082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iagonal Bubbl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789069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iagonal Bubbles (gold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621433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o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234141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192874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Fu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erlay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"/>
            <a:ext cx="6091767" cy="6872817"/>
          </a:xfrm>
          <a:solidFill>
            <a:srgbClr val="0A265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Change Picture on Home tab</a:t>
            </a:r>
            <a:br>
              <a:rPr lang="en-US" dirty="0"/>
            </a:br>
            <a:r>
              <a:rPr lang="en-US" dirty="0"/>
              <a:t>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</a:t>
            </a:r>
            <a:br>
              <a:rPr lang="en-US" baseline="0" dirty="0"/>
            </a:br>
            <a:r>
              <a:rPr lang="en-US" baseline="0" dirty="0"/>
              <a:t>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</a:t>
            </a:r>
            <a:br>
              <a:rPr lang="en-US" dirty="0"/>
            </a:br>
            <a:r>
              <a:rPr lang="en-US" dirty="0"/>
              <a:t>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102693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- Half Picture (white tex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"/>
            <a:ext cx="6108192" cy="6872817"/>
          </a:xfr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091768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5181600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3200" b="1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  <p:sp>
        <p:nvSpPr>
          <p:cNvPr id="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i="1" dirty="0">
                <a:solidFill>
                  <a:schemeClr val="bg2">
                    <a:lumMod val="75000"/>
                  </a:schemeClr>
                </a:solidFill>
                <a:latin typeface="HelveticaNeueLT W1G 45 Lt" panose="020B0403020202020204" pitchFamily="34" charset="0"/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96847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Fu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69400" cy="6858000"/>
          </a:xfr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9" name="Overlay"/>
          <p:cNvSpPr/>
          <p:nvPr userDrawn="1"/>
        </p:nvSpPr>
        <p:spPr>
          <a:xfrm>
            <a:off x="0" y="0"/>
            <a:ext cx="9180723" cy="6873376"/>
          </a:xfrm>
          <a:prstGeom prst="rect">
            <a:avLst/>
          </a:prstGeo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="0"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Change Picture on Home tab to add</a:t>
            </a:r>
            <a:r>
              <a:rPr lang="en-GB" dirty="0"/>
              <a:t> and Send to Back</a:t>
            </a:r>
            <a:r>
              <a:rPr lang="en-US" dirty="0"/>
              <a:t>. To switch</a:t>
            </a:r>
            <a:br>
              <a:rPr lang="en-US" dirty="0"/>
            </a:br>
            <a:r>
              <a:rPr lang="en-US" dirty="0"/>
              <a:t>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</a:t>
            </a:r>
            <a:br>
              <a:rPr lang="en-US" dirty="0"/>
            </a:br>
            <a:r>
              <a:rPr lang="en-US" dirty="0"/>
              <a:t>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25028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- Half Picture (dark text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6108192" cy="6872817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F7066DD-81B1-4857-8AC7-4EF42743E586}" type="slidenum">
              <a:rPr lang="en-GB" smtClean="0">
                <a:solidFill>
                  <a:srgbClr val="B9B9B9"/>
                </a:solidFill>
              </a:rPr>
              <a:pPr/>
              <a:t>‹#›</a:t>
            </a:fld>
            <a:endParaRPr lang="en-GB" dirty="0">
              <a:solidFill>
                <a:srgbClr val="B9B9B9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091768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5181600" cy="2781733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GB" dirty="0"/>
              <a:t>DIVIDER/STORY TITLE</a:t>
            </a:r>
          </a:p>
        </p:txBody>
      </p:sp>
      <p:sp>
        <p:nvSpPr>
          <p:cNvPr id="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498149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0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1719719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8691974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181160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656179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0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57686682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4538232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9177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73459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724029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148676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51623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8723749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57919818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6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124520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91799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43712853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88756121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355882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314457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tx1"/>
                </a:solidFill>
              </a:defRPr>
            </a:lvl2pPr>
            <a:lvl3pPr>
              <a:defRPr sz="2400" b="1">
                <a:solidFill>
                  <a:schemeClr val="tx1"/>
                </a:solidFill>
              </a:defRPr>
            </a:lvl3pPr>
            <a:lvl4pPr>
              <a:defRPr sz="2400" b="1">
                <a:solidFill>
                  <a:schemeClr val="tx1"/>
                </a:solidFill>
              </a:defRPr>
            </a:lvl4pPr>
            <a:lvl5pPr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177252" y="1509907"/>
            <a:ext cx="2449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11125" y="1509907"/>
            <a:ext cx="0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392564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ot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>
                <a:solidFill>
                  <a:schemeClr val="tx1"/>
                </a:solidFill>
              </a:defRPr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769566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177252" y="1509907"/>
            <a:ext cx="2449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11125" y="1509907"/>
            <a:ext cx="0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tx1"/>
                </a:solidFill>
              </a:defRPr>
            </a:lvl2pPr>
            <a:lvl3pPr>
              <a:defRPr sz="2400" b="1">
                <a:solidFill>
                  <a:schemeClr val="tx1"/>
                </a:solidFill>
              </a:defRPr>
            </a:lvl3pPr>
            <a:lvl4pPr>
              <a:defRPr sz="2400" b="1">
                <a:solidFill>
                  <a:schemeClr val="tx1"/>
                </a:solidFill>
              </a:defRPr>
            </a:lvl4pPr>
            <a:lvl5pPr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1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8784205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76000" y="1500960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1pPr>
              <a:defRPr lang="en-GB" dirty="0" smtClean="0">
                <a:solidFill>
                  <a:schemeClr val="tx1"/>
                </a:solidFill>
              </a:defRPr>
            </a:lvl1pPr>
            <a:lvl2pPr>
              <a:defRPr lang="en-GB" dirty="0" smtClean="0">
                <a:solidFill>
                  <a:schemeClr val="accent2"/>
                </a:solidFill>
              </a:defRPr>
            </a:lvl2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GB" dirty="0" smtClean="0"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1"/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cxnSp>
        <p:nvCxnSpPr>
          <p:cNvPr id="11" name="Straight Connector 10"/>
          <p:cNvCxnSpPr/>
          <p:nvPr userDrawn="1"/>
        </p:nvCxnSpPr>
        <p:spPr>
          <a:xfrm>
            <a:off x="80112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30344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76000" y="1500960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80112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2"/>
                </a:solidFill>
              </a:defRPr>
            </a:lvl2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59100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492329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Lines 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94334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5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606011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468001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50204452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8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7170582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5423476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53.xml"/><Relationship Id="rId50" Type="http://schemas.openxmlformats.org/officeDocument/2006/relationships/slideLayout" Target="../slideLayouts/slideLayout56.xml"/><Relationship Id="rId55" Type="http://schemas.openxmlformats.org/officeDocument/2006/relationships/image" Target="../media/image6.png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slideLayout" Target="../slideLayouts/slideLayout52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47.xml"/><Relationship Id="rId54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51.xml"/><Relationship Id="rId53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49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slideLayout" Target="../slideLayouts/slideLayout50.xml"/><Relationship Id="rId52" Type="http://schemas.openxmlformats.org/officeDocument/2006/relationships/slideLayout" Target="../slideLayouts/slideLayout58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54.xml"/><Relationship Id="rId8" Type="http://schemas.openxmlformats.org/officeDocument/2006/relationships/slideLayout" Target="../slideLayouts/slideLayout14.xml"/><Relationship Id="rId51" Type="http://schemas.openxmlformats.org/officeDocument/2006/relationships/slideLayout" Target="../slideLayouts/slideLayout57.xml"/><Relationship Id="rId3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9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50" Type="http://schemas.openxmlformats.org/officeDocument/2006/relationships/slideLayout" Target="../slideLayouts/slideLayout108.xml"/><Relationship Id="rId55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99.xml"/><Relationship Id="rId54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53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slideLayout" Target="../slideLayouts/slideLayout107.xml"/><Relationship Id="rId57" Type="http://schemas.openxmlformats.org/officeDocument/2006/relationships/theme" Target="../theme/theme4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52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56" Type="http://schemas.openxmlformats.org/officeDocument/2006/relationships/slideLayout" Target="../slideLayouts/slideLayout114.xml"/><Relationship Id="rId8" Type="http://schemas.openxmlformats.org/officeDocument/2006/relationships/slideLayout" Target="../slideLayouts/slideLayout66.xml"/><Relationship Id="rId51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6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image" Target="../media/image18.emf"/><Relationship Id="rId10" Type="http://schemas.openxmlformats.org/officeDocument/2006/relationships/slideLayout" Target="../slideLayouts/slideLayout124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5559"/>
            <a:ext cx="10972800" cy="992717"/>
          </a:xfrm>
          <a:prstGeom prst="rect">
            <a:avLst/>
          </a:prstGeom>
        </p:spPr>
        <p:txBody>
          <a:bodyPr vert="horz" lIns="91440" tIns="0" rIns="91440" bIns="0" rtlCol="0" anchor="b">
            <a:noAutofit/>
          </a:bodyPr>
          <a:lstStyle/>
          <a:p>
            <a:pPr lvl="0" defTabSz="1219170">
              <a:lnSpc>
                <a:spcPct val="75000"/>
              </a:lnSpc>
            </a:pPr>
            <a:r>
              <a:rPr lang="en-GB" noProof="0" dirty="0"/>
              <a:t>TECHNOLOGY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51229"/>
            <a:ext cx="10972800" cy="44282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Sub head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863402" y="6491696"/>
            <a:ext cx="1098604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1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/>
            <a:fld id="{7EA2F7BC-8A17-4BEB-8FAB-CC085FBE8591}" type="datetimeFigureOut">
              <a:rPr lang="en-GB" noProof="0" smtClean="0"/>
              <a:pPr defTabSz="1219170"/>
              <a:t>15/11/2017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7957" y="6491696"/>
            <a:ext cx="4541855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/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88000" y="6574824"/>
            <a:ext cx="216000" cy="216000"/>
          </a:xfrm>
          <a:prstGeom prst="ellipse">
            <a:avLst/>
          </a:prstGeom>
          <a:solidFill>
            <a:schemeClr val="bg1"/>
          </a:solidFill>
        </p:spPr>
        <p:txBody>
          <a:bodyPr vert="horz" wrap="none" lIns="91440" tIns="45720" rIns="91440" bIns="45720" rtlCol="0" anchor="ctr">
            <a:noAutofit/>
          </a:bodyPr>
          <a:lstStyle>
            <a:lvl1pPr algn="ctr">
              <a:defRPr lang="en-US" sz="800" smtClean="0">
                <a:solidFill>
                  <a:schemeClr val="accent2"/>
                </a:solidFill>
              </a:defRPr>
            </a:lvl1pPr>
          </a:lstStyle>
          <a:p>
            <a:pPr defTabSz="1219170"/>
            <a:fld id="{A223CCBA-219B-49CE-AF45-9F3E7FB0E141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8" name="Freeform 13"/>
          <p:cNvSpPr>
            <a:spLocks noChangeAspect="1"/>
          </p:cNvSpPr>
          <p:nvPr/>
        </p:nvSpPr>
        <p:spPr bwMode="auto">
          <a:xfrm>
            <a:off x="11034765" y="6622280"/>
            <a:ext cx="768000" cy="158987"/>
          </a:xfrm>
          <a:custGeom>
            <a:avLst/>
            <a:gdLst>
              <a:gd name="T0" fmla="*/ 549 w 1784"/>
              <a:gd name="T1" fmla="*/ 352 h 367"/>
              <a:gd name="T2" fmla="*/ 402 w 1784"/>
              <a:gd name="T3" fmla="*/ 104 h 367"/>
              <a:gd name="T4" fmla="*/ 273 w 1784"/>
              <a:gd name="T5" fmla="*/ 161 h 367"/>
              <a:gd name="T6" fmla="*/ 229 w 1784"/>
              <a:gd name="T7" fmla="*/ 351 h 367"/>
              <a:gd name="T8" fmla="*/ 201 w 1784"/>
              <a:gd name="T9" fmla="*/ 117 h 367"/>
              <a:gd name="T10" fmla="*/ 66 w 1784"/>
              <a:gd name="T11" fmla="*/ 169 h 367"/>
              <a:gd name="T12" fmla="*/ 2 w 1784"/>
              <a:gd name="T13" fmla="*/ 326 h 367"/>
              <a:gd name="T14" fmla="*/ 3 w 1784"/>
              <a:gd name="T15" fmla="*/ 126 h 367"/>
              <a:gd name="T16" fmla="*/ 158 w 1784"/>
              <a:gd name="T17" fmla="*/ 5 h 367"/>
              <a:gd name="T18" fmla="*/ 277 w 1784"/>
              <a:gd name="T19" fmla="*/ 20 h 367"/>
              <a:gd name="T20" fmla="*/ 373 w 1784"/>
              <a:gd name="T21" fmla="*/ 8 h 367"/>
              <a:gd name="T22" fmla="*/ 509 w 1784"/>
              <a:gd name="T23" fmla="*/ 274 h 367"/>
              <a:gd name="T24" fmla="*/ 537 w 1784"/>
              <a:gd name="T25" fmla="*/ 287 h 367"/>
              <a:gd name="T26" fmla="*/ 762 w 1784"/>
              <a:gd name="T27" fmla="*/ 132 h 367"/>
              <a:gd name="T28" fmla="*/ 603 w 1784"/>
              <a:gd name="T29" fmla="*/ 70 h 367"/>
              <a:gd name="T30" fmla="*/ 635 w 1784"/>
              <a:gd name="T31" fmla="*/ 5 h 367"/>
              <a:gd name="T32" fmla="*/ 821 w 1784"/>
              <a:gd name="T33" fmla="*/ 120 h 367"/>
              <a:gd name="T34" fmla="*/ 902 w 1784"/>
              <a:gd name="T35" fmla="*/ 277 h 367"/>
              <a:gd name="T36" fmla="*/ 968 w 1784"/>
              <a:gd name="T37" fmla="*/ 179 h 367"/>
              <a:gd name="T38" fmla="*/ 892 w 1784"/>
              <a:gd name="T39" fmla="*/ 8 h 367"/>
              <a:gd name="T40" fmla="*/ 1020 w 1784"/>
              <a:gd name="T41" fmla="*/ 141 h 367"/>
              <a:gd name="T42" fmla="*/ 1119 w 1784"/>
              <a:gd name="T43" fmla="*/ 17 h 367"/>
              <a:gd name="T44" fmla="*/ 1123 w 1784"/>
              <a:gd name="T45" fmla="*/ 113 h 367"/>
              <a:gd name="T46" fmla="*/ 1155 w 1784"/>
              <a:gd name="T47" fmla="*/ 281 h 367"/>
              <a:gd name="T48" fmla="*/ 1226 w 1784"/>
              <a:gd name="T49" fmla="*/ 44 h 367"/>
              <a:gd name="T50" fmla="*/ 1292 w 1784"/>
              <a:gd name="T51" fmla="*/ 198 h 367"/>
              <a:gd name="T52" fmla="*/ 1421 w 1784"/>
              <a:gd name="T53" fmla="*/ 248 h 367"/>
              <a:gd name="T54" fmla="*/ 1450 w 1784"/>
              <a:gd name="T55" fmla="*/ 10 h 367"/>
              <a:gd name="T56" fmla="*/ 1574 w 1784"/>
              <a:gd name="T57" fmla="*/ 288 h 367"/>
              <a:gd name="T58" fmla="*/ 1685 w 1784"/>
              <a:gd name="T59" fmla="*/ 215 h 367"/>
              <a:gd name="T60" fmla="*/ 1538 w 1784"/>
              <a:gd name="T61" fmla="*/ 93 h 367"/>
              <a:gd name="T62" fmla="*/ 1679 w 1784"/>
              <a:gd name="T63" fmla="*/ 5 h 367"/>
              <a:gd name="T64" fmla="*/ 1753 w 1784"/>
              <a:gd name="T65" fmla="*/ 81 h 367"/>
              <a:gd name="T66" fmla="*/ 1624 w 1784"/>
              <a:gd name="T67" fmla="*/ 69 h 367"/>
              <a:gd name="T68" fmla="*/ 1648 w 1784"/>
              <a:gd name="T69" fmla="*/ 137 h 367"/>
              <a:gd name="T70" fmla="*/ 1698 w 1784"/>
              <a:gd name="T71" fmla="*/ 343 h 367"/>
              <a:gd name="T72" fmla="*/ 1581 w 1784"/>
              <a:gd name="T73" fmla="*/ 352 h 367"/>
              <a:gd name="T74" fmla="*/ 1399 w 1784"/>
              <a:gd name="T75" fmla="*/ 351 h 367"/>
              <a:gd name="T76" fmla="*/ 1267 w 1784"/>
              <a:gd name="T77" fmla="*/ 323 h 367"/>
              <a:gd name="T78" fmla="*/ 1166 w 1784"/>
              <a:gd name="T79" fmla="*/ 356 h 367"/>
              <a:gd name="T80" fmla="*/ 924 w 1784"/>
              <a:gd name="T81" fmla="*/ 337 h 367"/>
              <a:gd name="T82" fmla="*/ 642 w 1784"/>
              <a:gd name="T83" fmla="*/ 160 h 367"/>
              <a:gd name="T84" fmla="*/ 690 w 1784"/>
              <a:gd name="T85" fmla="*/ 271 h 367"/>
              <a:gd name="T86" fmla="*/ 715 w 1784"/>
              <a:gd name="T87" fmla="*/ 331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784" h="367">
                <a:moveTo>
                  <a:pt x="620" y="356"/>
                </a:moveTo>
                <a:cubicBezTo>
                  <a:pt x="601" y="356"/>
                  <a:pt x="582" y="356"/>
                  <a:pt x="563" y="356"/>
                </a:cubicBezTo>
                <a:cubicBezTo>
                  <a:pt x="559" y="355"/>
                  <a:pt x="554" y="353"/>
                  <a:pt x="549" y="352"/>
                </a:cubicBezTo>
                <a:cubicBezTo>
                  <a:pt x="482" y="345"/>
                  <a:pt x="434" y="304"/>
                  <a:pt x="420" y="238"/>
                </a:cubicBezTo>
                <a:cubicBezTo>
                  <a:pt x="415" y="215"/>
                  <a:pt x="416" y="190"/>
                  <a:pt x="413" y="166"/>
                </a:cubicBezTo>
                <a:cubicBezTo>
                  <a:pt x="411" y="145"/>
                  <a:pt x="409" y="124"/>
                  <a:pt x="402" y="104"/>
                </a:cubicBezTo>
                <a:cubicBezTo>
                  <a:pt x="394" y="80"/>
                  <a:pt x="374" y="68"/>
                  <a:pt x="349" y="67"/>
                </a:cubicBezTo>
                <a:cubicBezTo>
                  <a:pt x="320" y="66"/>
                  <a:pt x="296" y="74"/>
                  <a:pt x="285" y="101"/>
                </a:cubicBezTo>
                <a:cubicBezTo>
                  <a:pt x="278" y="120"/>
                  <a:pt x="273" y="141"/>
                  <a:pt x="273" y="161"/>
                </a:cubicBezTo>
                <a:cubicBezTo>
                  <a:pt x="271" y="213"/>
                  <a:pt x="273" y="265"/>
                  <a:pt x="272" y="317"/>
                </a:cubicBezTo>
                <a:cubicBezTo>
                  <a:pt x="272" y="325"/>
                  <a:pt x="269" y="334"/>
                  <a:pt x="265" y="340"/>
                </a:cubicBezTo>
                <a:cubicBezTo>
                  <a:pt x="256" y="353"/>
                  <a:pt x="243" y="356"/>
                  <a:pt x="229" y="351"/>
                </a:cubicBezTo>
                <a:cubicBezTo>
                  <a:pt x="214" y="346"/>
                  <a:pt x="207" y="334"/>
                  <a:pt x="207" y="318"/>
                </a:cubicBezTo>
                <a:cubicBezTo>
                  <a:pt x="207" y="265"/>
                  <a:pt x="207" y="213"/>
                  <a:pt x="207" y="160"/>
                </a:cubicBezTo>
                <a:cubicBezTo>
                  <a:pt x="207" y="145"/>
                  <a:pt x="205" y="131"/>
                  <a:pt x="201" y="117"/>
                </a:cubicBezTo>
                <a:cubicBezTo>
                  <a:pt x="192" y="81"/>
                  <a:pt x="171" y="67"/>
                  <a:pt x="133" y="67"/>
                </a:cubicBezTo>
                <a:cubicBezTo>
                  <a:pt x="101" y="68"/>
                  <a:pt x="79" y="86"/>
                  <a:pt x="72" y="119"/>
                </a:cubicBezTo>
                <a:cubicBezTo>
                  <a:pt x="68" y="135"/>
                  <a:pt x="67" y="152"/>
                  <a:pt x="66" y="169"/>
                </a:cubicBezTo>
                <a:cubicBezTo>
                  <a:pt x="66" y="218"/>
                  <a:pt x="66" y="267"/>
                  <a:pt x="66" y="316"/>
                </a:cubicBezTo>
                <a:cubicBezTo>
                  <a:pt x="66" y="337"/>
                  <a:pt x="57" y="349"/>
                  <a:pt x="40" y="352"/>
                </a:cubicBezTo>
                <a:cubicBezTo>
                  <a:pt x="22" y="355"/>
                  <a:pt x="8" y="346"/>
                  <a:pt x="2" y="326"/>
                </a:cubicBezTo>
                <a:cubicBezTo>
                  <a:pt x="1" y="325"/>
                  <a:pt x="0" y="324"/>
                  <a:pt x="0" y="323"/>
                </a:cubicBezTo>
                <a:cubicBezTo>
                  <a:pt x="0" y="265"/>
                  <a:pt x="0" y="207"/>
                  <a:pt x="0" y="149"/>
                </a:cubicBezTo>
                <a:cubicBezTo>
                  <a:pt x="1" y="141"/>
                  <a:pt x="2" y="133"/>
                  <a:pt x="3" y="126"/>
                </a:cubicBezTo>
                <a:cubicBezTo>
                  <a:pt x="9" y="76"/>
                  <a:pt x="28" y="35"/>
                  <a:pt x="78" y="15"/>
                </a:cubicBezTo>
                <a:cubicBezTo>
                  <a:pt x="89" y="10"/>
                  <a:pt x="102" y="8"/>
                  <a:pt x="113" y="5"/>
                </a:cubicBezTo>
                <a:cubicBezTo>
                  <a:pt x="128" y="5"/>
                  <a:pt x="143" y="5"/>
                  <a:pt x="158" y="5"/>
                </a:cubicBezTo>
                <a:cubicBezTo>
                  <a:pt x="180" y="14"/>
                  <a:pt x="201" y="22"/>
                  <a:pt x="222" y="32"/>
                </a:cubicBezTo>
                <a:cubicBezTo>
                  <a:pt x="229" y="36"/>
                  <a:pt x="234" y="43"/>
                  <a:pt x="239" y="47"/>
                </a:cubicBezTo>
                <a:cubicBezTo>
                  <a:pt x="252" y="37"/>
                  <a:pt x="264" y="27"/>
                  <a:pt x="277" y="20"/>
                </a:cubicBezTo>
                <a:cubicBezTo>
                  <a:pt x="291" y="13"/>
                  <a:pt x="306" y="10"/>
                  <a:pt x="320" y="5"/>
                </a:cubicBezTo>
                <a:cubicBezTo>
                  <a:pt x="336" y="5"/>
                  <a:pt x="352" y="5"/>
                  <a:pt x="368" y="5"/>
                </a:cubicBezTo>
                <a:cubicBezTo>
                  <a:pt x="370" y="6"/>
                  <a:pt x="372" y="7"/>
                  <a:pt x="373" y="8"/>
                </a:cubicBezTo>
                <a:cubicBezTo>
                  <a:pt x="431" y="17"/>
                  <a:pt x="464" y="52"/>
                  <a:pt x="473" y="108"/>
                </a:cubicBezTo>
                <a:cubicBezTo>
                  <a:pt x="478" y="135"/>
                  <a:pt x="478" y="163"/>
                  <a:pt x="479" y="190"/>
                </a:cubicBezTo>
                <a:cubicBezTo>
                  <a:pt x="480" y="221"/>
                  <a:pt x="487" y="251"/>
                  <a:pt x="509" y="274"/>
                </a:cubicBezTo>
                <a:cubicBezTo>
                  <a:pt x="517" y="283"/>
                  <a:pt x="528" y="289"/>
                  <a:pt x="538" y="296"/>
                </a:cubicBezTo>
                <a:cubicBezTo>
                  <a:pt x="538" y="295"/>
                  <a:pt x="539" y="294"/>
                  <a:pt x="540" y="293"/>
                </a:cubicBezTo>
                <a:cubicBezTo>
                  <a:pt x="539" y="291"/>
                  <a:pt x="538" y="289"/>
                  <a:pt x="537" y="287"/>
                </a:cubicBezTo>
                <a:cubicBezTo>
                  <a:pt x="501" y="225"/>
                  <a:pt x="524" y="148"/>
                  <a:pt x="589" y="120"/>
                </a:cubicBezTo>
                <a:cubicBezTo>
                  <a:pt x="645" y="96"/>
                  <a:pt x="701" y="97"/>
                  <a:pt x="754" y="128"/>
                </a:cubicBezTo>
                <a:cubicBezTo>
                  <a:pt x="757" y="130"/>
                  <a:pt x="759" y="131"/>
                  <a:pt x="762" y="132"/>
                </a:cubicBezTo>
                <a:cubicBezTo>
                  <a:pt x="760" y="121"/>
                  <a:pt x="757" y="111"/>
                  <a:pt x="751" y="103"/>
                </a:cubicBezTo>
                <a:cubicBezTo>
                  <a:pt x="730" y="73"/>
                  <a:pt x="700" y="64"/>
                  <a:pt x="666" y="65"/>
                </a:cubicBezTo>
                <a:cubicBezTo>
                  <a:pt x="645" y="66"/>
                  <a:pt x="624" y="70"/>
                  <a:pt x="603" y="70"/>
                </a:cubicBezTo>
                <a:cubicBezTo>
                  <a:pt x="584" y="71"/>
                  <a:pt x="575" y="60"/>
                  <a:pt x="576" y="41"/>
                </a:cubicBezTo>
                <a:cubicBezTo>
                  <a:pt x="576" y="26"/>
                  <a:pt x="586" y="19"/>
                  <a:pt x="598" y="15"/>
                </a:cubicBezTo>
                <a:cubicBezTo>
                  <a:pt x="610" y="10"/>
                  <a:pt x="623" y="8"/>
                  <a:pt x="635" y="5"/>
                </a:cubicBezTo>
                <a:cubicBezTo>
                  <a:pt x="656" y="5"/>
                  <a:pt x="677" y="5"/>
                  <a:pt x="698" y="5"/>
                </a:cubicBezTo>
                <a:cubicBezTo>
                  <a:pt x="701" y="6"/>
                  <a:pt x="704" y="7"/>
                  <a:pt x="707" y="8"/>
                </a:cubicBezTo>
                <a:cubicBezTo>
                  <a:pt x="772" y="18"/>
                  <a:pt x="811" y="54"/>
                  <a:pt x="821" y="120"/>
                </a:cubicBezTo>
                <a:cubicBezTo>
                  <a:pt x="825" y="150"/>
                  <a:pt x="823" y="181"/>
                  <a:pt x="825" y="211"/>
                </a:cubicBezTo>
                <a:cubicBezTo>
                  <a:pt x="826" y="228"/>
                  <a:pt x="829" y="245"/>
                  <a:pt x="835" y="260"/>
                </a:cubicBezTo>
                <a:cubicBezTo>
                  <a:pt x="847" y="289"/>
                  <a:pt x="878" y="295"/>
                  <a:pt x="902" y="277"/>
                </a:cubicBezTo>
                <a:cubicBezTo>
                  <a:pt x="909" y="272"/>
                  <a:pt x="914" y="266"/>
                  <a:pt x="919" y="260"/>
                </a:cubicBezTo>
                <a:cubicBezTo>
                  <a:pt x="936" y="241"/>
                  <a:pt x="952" y="221"/>
                  <a:pt x="968" y="202"/>
                </a:cubicBezTo>
                <a:cubicBezTo>
                  <a:pt x="976" y="193"/>
                  <a:pt x="976" y="188"/>
                  <a:pt x="968" y="179"/>
                </a:cubicBezTo>
                <a:cubicBezTo>
                  <a:pt x="933" y="141"/>
                  <a:pt x="899" y="102"/>
                  <a:pt x="864" y="63"/>
                </a:cubicBezTo>
                <a:cubicBezTo>
                  <a:pt x="854" y="52"/>
                  <a:pt x="851" y="40"/>
                  <a:pt x="858" y="26"/>
                </a:cubicBezTo>
                <a:cubicBezTo>
                  <a:pt x="864" y="12"/>
                  <a:pt x="877" y="5"/>
                  <a:pt x="892" y="8"/>
                </a:cubicBezTo>
                <a:cubicBezTo>
                  <a:pt x="902" y="11"/>
                  <a:pt x="914" y="16"/>
                  <a:pt x="921" y="24"/>
                </a:cubicBezTo>
                <a:cubicBezTo>
                  <a:pt x="940" y="44"/>
                  <a:pt x="956" y="65"/>
                  <a:pt x="973" y="86"/>
                </a:cubicBezTo>
                <a:cubicBezTo>
                  <a:pt x="988" y="103"/>
                  <a:pt x="1003" y="121"/>
                  <a:pt x="1020" y="141"/>
                </a:cubicBezTo>
                <a:cubicBezTo>
                  <a:pt x="1022" y="137"/>
                  <a:pt x="1023" y="135"/>
                  <a:pt x="1024" y="133"/>
                </a:cubicBezTo>
                <a:cubicBezTo>
                  <a:pt x="1045" y="107"/>
                  <a:pt x="1066" y="81"/>
                  <a:pt x="1086" y="55"/>
                </a:cubicBezTo>
                <a:cubicBezTo>
                  <a:pt x="1097" y="42"/>
                  <a:pt x="1107" y="29"/>
                  <a:pt x="1119" y="17"/>
                </a:cubicBezTo>
                <a:cubicBezTo>
                  <a:pt x="1133" y="4"/>
                  <a:pt x="1155" y="5"/>
                  <a:pt x="1168" y="17"/>
                </a:cubicBezTo>
                <a:cubicBezTo>
                  <a:pt x="1181" y="29"/>
                  <a:pt x="1181" y="45"/>
                  <a:pt x="1167" y="62"/>
                </a:cubicBezTo>
                <a:cubicBezTo>
                  <a:pt x="1152" y="79"/>
                  <a:pt x="1137" y="96"/>
                  <a:pt x="1123" y="113"/>
                </a:cubicBezTo>
                <a:cubicBezTo>
                  <a:pt x="1102" y="137"/>
                  <a:pt x="1081" y="161"/>
                  <a:pt x="1060" y="186"/>
                </a:cubicBezTo>
                <a:cubicBezTo>
                  <a:pt x="1082" y="210"/>
                  <a:pt x="1104" y="235"/>
                  <a:pt x="1127" y="258"/>
                </a:cubicBezTo>
                <a:cubicBezTo>
                  <a:pt x="1135" y="267"/>
                  <a:pt x="1145" y="275"/>
                  <a:pt x="1155" y="281"/>
                </a:cubicBezTo>
                <a:cubicBezTo>
                  <a:pt x="1183" y="296"/>
                  <a:pt x="1211" y="285"/>
                  <a:pt x="1220" y="255"/>
                </a:cubicBezTo>
                <a:cubicBezTo>
                  <a:pt x="1224" y="242"/>
                  <a:pt x="1226" y="228"/>
                  <a:pt x="1226" y="214"/>
                </a:cubicBezTo>
                <a:cubicBezTo>
                  <a:pt x="1227" y="157"/>
                  <a:pt x="1226" y="101"/>
                  <a:pt x="1226" y="44"/>
                </a:cubicBezTo>
                <a:cubicBezTo>
                  <a:pt x="1226" y="21"/>
                  <a:pt x="1238" y="8"/>
                  <a:pt x="1258" y="8"/>
                </a:cubicBezTo>
                <a:cubicBezTo>
                  <a:pt x="1279" y="8"/>
                  <a:pt x="1292" y="21"/>
                  <a:pt x="1292" y="45"/>
                </a:cubicBezTo>
                <a:cubicBezTo>
                  <a:pt x="1292" y="96"/>
                  <a:pt x="1291" y="147"/>
                  <a:pt x="1292" y="198"/>
                </a:cubicBezTo>
                <a:cubicBezTo>
                  <a:pt x="1292" y="215"/>
                  <a:pt x="1295" y="232"/>
                  <a:pt x="1300" y="248"/>
                </a:cubicBezTo>
                <a:cubicBezTo>
                  <a:pt x="1309" y="278"/>
                  <a:pt x="1332" y="293"/>
                  <a:pt x="1361" y="293"/>
                </a:cubicBezTo>
                <a:cubicBezTo>
                  <a:pt x="1390" y="293"/>
                  <a:pt x="1412" y="277"/>
                  <a:pt x="1421" y="248"/>
                </a:cubicBezTo>
                <a:cubicBezTo>
                  <a:pt x="1427" y="230"/>
                  <a:pt x="1429" y="210"/>
                  <a:pt x="1430" y="191"/>
                </a:cubicBezTo>
                <a:cubicBezTo>
                  <a:pt x="1431" y="141"/>
                  <a:pt x="1430" y="91"/>
                  <a:pt x="1430" y="41"/>
                </a:cubicBezTo>
                <a:cubicBezTo>
                  <a:pt x="1430" y="26"/>
                  <a:pt x="1436" y="16"/>
                  <a:pt x="1450" y="10"/>
                </a:cubicBezTo>
                <a:cubicBezTo>
                  <a:pt x="1472" y="0"/>
                  <a:pt x="1494" y="16"/>
                  <a:pt x="1495" y="41"/>
                </a:cubicBezTo>
                <a:cubicBezTo>
                  <a:pt x="1495" y="88"/>
                  <a:pt x="1495" y="134"/>
                  <a:pt x="1496" y="181"/>
                </a:cubicBezTo>
                <a:cubicBezTo>
                  <a:pt x="1497" y="233"/>
                  <a:pt x="1526" y="275"/>
                  <a:pt x="1574" y="288"/>
                </a:cubicBezTo>
                <a:cubicBezTo>
                  <a:pt x="1598" y="294"/>
                  <a:pt x="1623" y="295"/>
                  <a:pt x="1648" y="294"/>
                </a:cubicBezTo>
                <a:cubicBezTo>
                  <a:pt x="1662" y="294"/>
                  <a:pt x="1676" y="288"/>
                  <a:pt x="1688" y="281"/>
                </a:cubicBezTo>
                <a:cubicBezTo>
                  <a:pt x="1715" y="264"/>
                  <a:pt x="1713" y="229"/>
                  <a:pt x="1685" y="215"/>
                </a:cubicBezTo>
                <a:cubicBezTo>
                  <a:pt x="1677" y="211"/>
                  <a:pt x="1668" y="208"/>
                  <a:pt x="1660" y="205"/>
                </a:cubicBezTo>
                <a:cubicBezTo>
                  <a:pt x="1639" y="199"/>
                  <a:pt x="1618" y="195"/>
                  <a:pt x="1598" y="188"/>
                </a:cubicBezTo>
                <a:cubicBezTo>
                  <a:pt x="1553" y="172"/>
                  <a:pt x="1535" y="144"/>
                  <a:pt x="1538" y="93"/>
                </a:cubicBezTo>
                <a:cubicBezTo>
                  <a:pt x="1539" y="53"/>
                  <a:pt x="1564" y="23"/>
                  <a:pt x="1605" y="12"/>
                </a:cubicBezTo>
                <a:cubicBezTo>
                  <a:pt x="1614" y="9"/>
                  <a:pt x="1622" y="7"/>
                  <a:pt x="1631" y="5"/>
                </a:cubicBezTo>
                <a:cubicBezTo>
                  <a:pt x="1647" y="5"/>
                  <a:pt x="1663" y="5"/>
                  <a:pt x="1679" y="5"/>
                </a:cubicBezTo>
                <a:cubicBezTo>
                  <a:pt x="1683" y="6"/>
                  <a:pt x="1687" y="7"/>
                  <a:pt x="1692" y="8"/>
                </a:cubicBezTo>
                <a:cubicBezTo>
                  <a:pt x="1714" y="14"/>
                  <a:pt x="1735" y="21"/>
                  <a:pt x="1750" y="39"/>
                </a:cubicBezTo>
                <a:cubicBezTo>
                  <a:pt x="1761" y="53"/>
                  <a:pt x="1762" y="69"/>
                  <a:pt x="1753" y="81"/>
                </a:cubicBezTo>
                <a:cubicBezTo>
                  <a:pt x="1745" y="92"/>
                  <a:pt x="1730" y="95"/>
                  <a:pt x="1714" y="88"/>
                </a:cubicBezTo>
                <a:cubicBezTo>
                  <a:pt x="1704" y="83"/>
                  <a:pt x="1694" y="77"/>
                  <a:pt x="1684" y="72"/>
                </a:cubicBezTo>
                <a:cubicBezTo>
                  <a:pt x="1664" y="63"/>
                  <a:pt x="1644" y="61"/>
                  <a:pt x="1624" y="69"/>
                </a:cubicBezTo>
                <a:cubicBezTo>
                  <a:pt x="1612" y="73"/>
                  <a:pt x="1604" y="82"/>
                  <a:pt x="1603" y="95"/>
                </a:cubicBezTo>
                <a:cubicBezTo>
                  <a:pt x="1602" y="109"/>
                  <a:pt x="1607" y="120"/>
                  <a:pt x="1619" y="126"/>
                </a:cubicBezTo>
                <a:cubicBezTo>
                  <a:pt x="1629" y="131"/>
                  <a:pt x="1639" y="134"/>
                  <a:pt x="1648" y="137"/>
                </a:cubicBezTo>
                <a:cubicBezTo>
                  <a:pt x="1672" y="145"/>
                  <a:pt x="1697" y="150"/>
                  <a:pt x="1720" y="159"/>
                </a:cubicBezTo>
                <a:cubicBezTo>
                  <a:pt x="1745" y="168"/>
                  <a:pt x="1763" y="187"/>
                  <a:pt x="1770" y="214"/>
                </a:cubicBezTo>
                <a:cubicBezTo>
                  <a:pt x="1784" y="271"/>
                  <a:pt x="1755" y="324"/>
                  <a:pt x="1698" y="343"/>
                </a:cubicBezTo>
                <a:cubicBezTo>
                  <a:pt x="1681" y="349"/>
                  <a:pt x="1663" y="352"/>
                  <a:pt x="1646" y="356"/>
                </a:cubicBezTo>
                <a:cubicBezTo>
                  <a:pt x="1629" y="356"/>
                  <a:pt x="1612" y="356"/>
                  <a:pt x="1595" y="356"/>
                </a:cubicBezTo>
                <a:cubicBezTo>
                  <a:pt x="1590" y="355"/>
                  <a:pt x="1586" y="353"/>
                  <a:pt x="1581" y="352"/>
                </a:cubicBezTo>
                <a:cubicBezTo>
                  <a:pt x="1548" y="348"/>
                  <a:pt x="1518" y="339"/>
                  <a:pt x="1493" y="316"/>
                </a:cubicBezTo>
                <a:cubicBezTo>
                  <a:pt x="1486" y="310"/>
                  <a:pt x="1481" y="304"/>
                  <a:pt x="1474" y="297"/>
                </a:cubicBezTo>
                <a:cubicBezTo>
                  <a:pt x="1457" y="327"/>
                  <a:pt x="1431" y="344"/>
                  <a:pt x="1399" y="351"/>
                </a:cubicBezTo>
                <a:cubicBezTo>
                  <a:pt x="1393" y="353"/>
                  <a:pt x="1386" y="354"/>
                  <a:pt x="1379" y="356"/>
                </a:cubicBezTo>
                <a:cubicBezTo>
                  <a:pt x="1366" y="356"/>
                  <a:pt x="1353" y="356"/>
                  <a:pt x="1340" y="356"/>
                </a:cubicBezTo>
                <a:cubicBezTo>
                  <a:pt x="1312" y="349"/>
                  <a:pt x="1284" y="342"/>
                  <a:pt x="1267" y="323"/>
                </a:cubicBezTo>
                <a:cubicBezTo>
                  <a:pt x="1245" y="333"/>
                  <a:pt x="1226" y="342"/>
                  <a:pt x="1207" y="350"/>
                </a:cubicBezTo>
                <a:cubicBezTo>
                  <a:pt x="1199" y="353"/>
                  <a:pt x="1190" y="354"/>
                  <a:pt x="1181" y="356"/>
                </a:cubicBezTo>
                <a:cubicBezTo>
                  <a:pt x="1176" y="356"/>
                  <a:pt x="1171" y="356"/>
                  <a:pt x="1166" y="356"/>
                </a:cubicBezTo>
                <a:cubicBezTo>
                  <a:pt x="1094" y="346"/>
                  <a:pt x="1061" y="285"/>
                  <a:pt x="1018" y="238"/>
                </a:cubicBezTo>
                <a:cubicBezTo>
                  <a:pt x="1004" y="256"/>
                  <a:pt x="992" y="273"/>
                  <a:pt x="978" y="288"/>
                </a:cubicBezTo>
                <a:cubicBezTo>
                  <a:pt x="961" y="306"/>
                  <a:pt x="944" y="325"/>
                  <a:pt x="924" y="337"/>
                </a:cubicBezTo>
                <a:cubicBezTo>
                  <a:pt x="875" y="367"/>
                  <a:pt x="804" y="351"/>
                  <a:pt x="778" y="305"/>
                </a:cubicBezTo>
                <a:cubicBezTo>
                  <a:pt x="769" y="290"/>
                  <a:pt x="765" y="272"/>
                  <a:pt x="762" y="254"/>
                </a:cubicBezTo>
                <a:cubicBezTo>
                  <a:pt x="751" y="185"/>
                  <a:pt x="707" y="150"/>
                  <a:pt x="642" y="160"/>
                </a:cubicBezTo>
                <a:cubicBezTo>
                  <a:pt x="608" y="166"/>
                  <a:pt x="587" y="189"/>
                  <a:pt x="585" y="226"/>
                </a:cubicBezTo>
                <a:cubicBezTo>
                  <a:pt x="583" y="257"/>
                  <a:pt x="600" y="284"/>
                  <a:pt x="627" y="291"/>
                </a:cubicBezTo>
                <a:cubicBezTo>
                  <a:pt x="652" y="298"/>
                  <a:pt x="672" y="288"/>
                  <a:pt x="690" y="271"/>
                </a:cubicBezTo>
                <a:cubicBezTo>
                  <a:pt x="705" y="256"/>
                  <a:pt x="729" y="256"/>
                  <a:pt x="740" y="268"/>
                </a:cubicBezTo>
                <a:cubicBezTo>
                  <a:pt x="751" y="279"/>
                  <a:pt x="748" y="302"/>
                  <a:pt x="734" y="316"/>
                </a:cubicBezTo>
                <a:cubicBezTo>
                  <a:pt x="728" y="322"/>
                  <a:pt x="722" y="327"/>
                  <a:pt x="715" y="331"/>
                </a:cubicBezTo>
                <a:cubicBezTo>
                  <a:pt x="701" y="337"/>
                  <a:pt x="687" y="342"/>
                  <a:pt x="673" y="346"/>
                </a:cubicBezTo>
                <a:cubicBezTo>
                  <a:pt x="656" y="351"/>
                  <a:pt x="638" y="353"/>
                  <a:pt x="620" y="3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282288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400" kern="1200" cap="none" baseline="0">
          <a:solidFill>
            <a:schemeClr val="accent1"/>
          </a:solidFill>
          <a:latin typeface="Open Sans"/>
          <a:ea typeface="+mj-ea"/>
          <a:cs typeface="Open San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8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Trocchi"/>
          <a:ea typeface="+mn-ea"/>
          <a:cs typeface="Trocchi"/>
        </a:defRPr>
      </a:lvl1pPr>
      <a:lvl2pPr marL="231775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400"/>
        </a:spcAft>
        <a:buFont typeface="Calibri" panose="020F050202020403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400"/>
        </a:spcAft>
        <a:buFont typeface="Arial" panose="020B0604020202020204" pitchFamily="34" charset="0"/>
        <a:buNone/>
        <a:defRPr sz="19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34">
          <p15:clr>
            <a:srgbClr val="F26B43"/>
          </p15:clr>
        </p15:guide>
        <p15:guide id="2" pos="3840">
          <p15:clr>
            <a:srgbClr val="F26B43"/>
          </p15:clr>
        </p15:guide>
        <p15:guide id="3" pos="378">
          <p15:clr>
            <a:srgbClr val="F26B43"/>
          </p15:clr>
        </p15:guide>
        <p15:guide id="4" pos="7303">
          <p15:clr>
            <a:srgbClr val="F26B43"/>
          </p15:clr>
        </p15:guide>
        <p15:guide id="5" orient="horz" pos="1165">
          <p15:clr>
            <a:srgbClr val="F26B43"/>
          </p15:clr>
        </p15:guide>
        <p15:guide id="6" orient="horz" pos="3963">
          <p15:clr>
            <a:srgbClr val="F26B43"/>
          </p15:clr>
        </p15:guide>
        <p15:guide id="7" orient="horz" pos="90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7B15DE-6F47-0A4A-AA84-E6B696CC05C1}" type="datetime1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1A84A9-069E-2D4D-A18C-B2A5371E4961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687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000" y="1509903"/>
            <a:ext cx="10943584" cy="4411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GB" dirty="0"/>
              <a:t>The main text area has five predefined type levels you can use to format your text.</a:t>
            </a:r>
          </a:p>
          <a:p>
            <a:endParaRPr lang="en-GB" dirty="0"/>
          </a:p>
          <a:p>
            <a:r>
              <a:rPr lang="en-GB" dirty="0"/>
              <a:t>Level one is the standard text format</a:t>
            </a:r>
          </a:p>
          <a:p>
            <a:pPr lvl="1"/>
            <a:r>
              <a:rPr lang="en-GB" dirty="0"/>
              <a:t>Level two is the subheading or intro format</a:t>
            </a:r>
          </a:p>
          <a:p>
            <a:pPr lvl="2"/>
            <a:r>
              <a:rPr lang="en-GB" dirty="0"/>
              <a:t>Level three is the highlight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5"/>
            <a:r>
              <a:rPr lang="en-GB" dirty="0"/>
              <a:t>Level six is used for numbered paragraphs</a:t>
            </a:r>
          </a:p>
          <a:p>
            <a:pPr lvl="6"/>
            <a:r>
              <a:rPr lang="en-GB" dirty="0"/>
              <a:t>Level seven is used for alphabetical paragraphs</a:t>
            </a:r>
          </a:p>
          <a:p>
            <a:endParaRPr lang="en-GB" dirty="0"/>
          </a:p>
          <a:p>
            <a:r>
              <a:rPr lang="en-GB" dirty="0"/>
              <a:t>You can move up or down the levels using the Increase or decrease indent buttons </a:t>
            </a:r>
            <a:br>
              <a:rPr lang="en-GB" dirty="0"/>
            </a:br>
            <a:r>
              <a:rPr lang="en-GB" dirty="0"/>
              <a:t>in the paragraph section of the Home tab in the Ribbon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000" y="6445599"/>
            <a:ext cx="9984032" cy="19098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GB" sz="1100" i="1" cap="none" baseline="0" dirty="0">
                <a:solidFill>
                  <a:srgbClr val="B9B9B9"/>
                </a:solidFill>
              </a:defRPr>
            </a:lvl1pPr>
          </a:lstStyle>
          <a:p>
            <a:pPr defTabSz="914377"/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 lIns="0" tIns="0" rIns="0" bIns="0" anchor="b"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pPr defTabSz="914377"/>
            <a:fld id="{3F7066DD-81B1-4857-8AC7-4EF42743E586}" type="slidenum">
              <a:rPr lang="en-GB" smtClean="0"/>
              <a:pPr defTabSz="914377"/>
              <a:t>‹#›</a:t>
            </a:fld>
            <a:endParaRPr lang="en-GB" dirty="0"/>
          </a:p>
        </p:txBody>
      </p:sp>
      <p:grpSp>
        <p:nvGrpSpPr>
          <p:cNvPr id="6" name="LogoLight" hidden="1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FFFFFF"/>
          </a:solidFill>
        </p:grpSpPr>
        <p:sp>
          <p:nvSpPr>
            <p:cNvPr id="15" name="Freeform 6" hidden="1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 hidden="1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 hidden="1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 hidden="1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 hidden="1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 hidden="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grpSp>
        <p:nvGrpSpPr>
          <p:cNvPr id="21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0A2756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54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5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  <p:sp>
        <p:nvSpPr>
          <p:cNvPr id="28" name="Rectangle 8"/>
          <p:cNvSpPr/>
          <p:nvPr userDrawn="1"/>
        </p:nvSpPr>
        <p:spPr>
          <a:xfrm>
            <a:off x="520842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b="1" i="1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857076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4" r:id="rId29"/>
    <p:sldLayoutId id="2147483745" r:id="rId30"/>
    <p:sldLayoutId id="2147483746" r:id="rId31"/>
    <p:sldLayoutId id="2147483747" r:id="rId32"/>
    <p:sldLayoutId id="2147483748" r:id="rId33"/>
    <p:sldLayoutId id="2147483749" r:id="rId34"/>
    <p:sldLayoutId id="2147483750" r:id="rId35"/>
    <p:sldLayoutId id="2147483751" r:id="rId36"/>
    <p:sldLayoutId id="2147483752" r:id="rId37"/>
    <p:sldLayoutId id="2147483753" r:id="rId38"/>
    <p:sldLayoutId id="2147483754" r:id="rId39"/>
    <p:sldLayoutId id="2147483755" r:id="rId40"/>
    <p:sldLayoutId id="2147483756" r:id="rId41"/>
    <p:sldLayoutId id="2147483757" r:id="rId42"/>
    <p:sldLayoutId id="2147483758" r:id="rId43"/>
    <p:sldLayoutId id="2147483759" r:id="rId44"/>
    <p:sldLayoutId id="2147483760" r:id="rId45"/>
    <p:sldLayoutId id="2147483761" r:id="rId46"/>
    <p:sldLayoutId id="2147483762" r:id="rId47"/>
    <p:sldLayoutId id="2147483763" r:id="rId48"/>
    <p:sldLayoutId id="2147483764" r:id="rId49"/>
    <p:sldLayoutId id="2147483765" r:id="rId50"/>
    <p:sldLayoutId id="2147483766" r:id="rId51"/>
    <p:sldLayoutId id="2147483767" r:id="rId52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lang="en-GB" sz="2800" b="1" kern="1200" cap="all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32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234945" indent="-234945" algn="l" defTabSz="1219170" rtl="0" eaLnBrk="1" latinLnBrk="0" hangingPunct="1">
        <a:spcBef>
          <a:spcPct val="20000"/>
        </a:spcBef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80472" indent="-245527" algn="l" defTabSz="1219170" rtl="0" eaLnBrk="1" latinLnBrk="0" hangingPunct="1">
        <a:spcBef>
          <a:spcPct val="20000"/>
        </a:spcBef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34945" indent="-234945" algn="l" defTabSz="1219170" rtl="0" eaLnBrk="1" latinLnBrk="0" hangingPunct="1">
        <a:spcBef>
          <a:spcPts val="1600"/>
        </a:spcBef>
        <a:buFont typeface="+mj-lt"/>
        <a:buAutoNum type="arabicParenR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4945" indent="-234945" algn="l" defTabSz="1219170" rtl="0" eaLnBrk="1" latinLnBrk="0" hangingPunct="1">
        <a:spcBef>
          <a:spcPts val="1600"/>
        </a:spcBef>
        <a:buFont typeface="+mj-lt"/>
        <a:buAutoNum type="alphaLcParenR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000" y="1509903"/>
            <a:ext cx="10943584" cy="4411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GB" dirty="0"/>
              <a:t>The main text area has five predefined type levels you can use to format your text.</a:t>
            </a:r>
          </a:p>
          <a:p>
            <a:endParaRPr lang="en-GB" dirty="0"/>
          </a:p>
          <a:p>
            <a:r>
              <a:rPr lang="en-GB" dirty="0"/>
              <a:t>Level one is the standard text format</a:t>
            </a:r>
          </a:p>
          <a:p>
            <a:pPr lvl="1"/>
            <a:r>
              <a:rPr lang="en-GB" dirty="0"/>
              <a:t>Level two is the subheading or intro format</a:t>
            </a:r>
          </a:p>
          <a:p>
            <a:pPr lvl="2"/>
            <a:r>
              <a:rPr lang="en-GB" dirty="0"/>
              <a:t>Level three is the highlight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5"/>
            <a:r>
              <a:rPr lang="en-GB" dirty="0"/>
              <a:t>Level six is used for numbered paragraphs</a:t>
            </a:r>
          </a:p>
          <a:p>
            <a:pPr lvl="6"/>
            <a:r>
              <a:rPr lang="en-GB" dirty="0"/>
              <a:t>Level seven is used for alphabetical paragraphs</a:t>
            </a:r>
          </a:p>
          <a:p>
            <a:endParaRPr lang="en-GB" dirty="0"/>
          </a:p>
          <a:p>
            <a:r>
              <a:rPr lang="en-GB" dirty="0"/>
              <a:t>You can move up or down the levels using the Increase or decrease indent buttons </a:t>
            </a:r>
            <a:br>
              <a:rPr lang="en-GB" dirty="0"/>
            </a:br>
            <a:r>
              <a:rPr lang="en-GB" dirty="0"/>
              <a:t>in the paragraph section of the Home tab in the Ribbon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000" y="6161097"/>
            <a:ext cx="9984032" cy="4754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GB" sz="1100" i="1" cap="none" baseline="0" dirty="0">
                <a:solidFill>
                  <a:srgbClr val="B9B9B9"/>
                </a:solidFill>
              </a:defRPr>
            </a:lvl1pPr>
          </a:lstStyle>
          <a:p>
            <a:pPr defTabSz="914377"/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 lIns="0" tIns="0" rIns="0" bIns="0" anchor="b"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pPr defTabSz="914377"/>
            <a:fld id="{3F7066DD-81B1-4857-8AC7-4EF42743E586}" type="slidenum">
              <a:rPr lang="en-GB" smtClean="0"/>
              <a:pPr defTabSz="914377"/>
              <a:t>‹#›</a:t>
            </a:fld>
            <a:endParaRPr lang="en-GB" dirty="0"/>
          </a:p>
        </p:txBody>
      </p:sp>
      <p:grpSp>
        <p:nvGrpSpPr>
          <p:cNvPr id="6" name="LogoLight" hidden="1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FFFFFF"/>
          </a:solidFill>
        </p:grpSpPr>
        <p:sp>
          <p:nvSpPr>
            <p:cNvPr id="15" name="Freeform 6" hidden="1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 hidden="1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 hidden="1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 hidden="1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 hidden="1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 hidden="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b="1" i="1" dirty="0">
                <a:solidFill>
                  <a:schemeClr val="bg1"/>
                </a:solidFill>
                <a:latin typeface="+mn-lt"/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606874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  <p:sldLayoutId id="2147483795" r:id="rId25"/>
    <p:sldLayoutId id="2147483796" r:id="rId26"/>
    <p:sldLayoutId id="2147483797" r:id="rId27"/>
    <p:sldLayoutId id="2147483798" r:id="rId28"/>
    <p:sldLayoutId id="2147483799" r:id="rId29"/>
    <p:sldLayoutId id="2147483800" r:id="rId30"/>
    <p:sldLayoutId id="2147483801" r:id="rId31"/>
    <p:sldLayoutId id="2147483802" r:id="rId32"/>
    <p:sldLayoutId id="2147483803" r:id="rId33"/>
    <p:sldLayoutId id="2147483804" r:id="rId34"/>
    <p:sldLayoutId id="2147483805" r:id="rId35"/>
    <p:sldLayoutId id="2147483806" r:id="rId36"/>
    <p:sldLayoutId id="2147483807" r:id="rId37"/>
    <p:sldLayoutId id="2147483808" r:id="rId38"/>
    <p:sldLayoutId id="2147483809" r:id="rId39"/>
    <p:sldLayoutId id="2147483810" r:id="rId40"/>
    <p:sldLayoutId id="2147483811" r:id="rId41"/>
    <p:sldLayoutId id="2147483812" r:id="rId42"/>
    <p:sldLayoutId id="2147483813" r:id="rId43"/>
    <p:sldLayoutId id="2147483814" r:id="rId44"/>
    <p:sldLayoutId id="2147483815" r:id="rId45"/>
    <p:sldLayoutId id="2147483816" r:id="rId46"/>
    <p:sldLayoutId id="2147483817" r:id="rId47"/>
    <p:sldLayoutId id="2147483818" r:id="rId48"/>
    <p:sldLayoutId id="2147483819" r:id="rId49"/>
    <p:sldLayoutId id="2147483820" r:id="rId50"/>
    <p:sldLayoutId id="2147483821" r:id="rId51"/>
    <p:sldLayoutId id="2147483822" r:id="rId52"/>
    <p:sldLayoutId id="2147483823" r:id="rId53"/>
    <p:sldLayoutId id="2147483824" r:id="rId54"/>
    <p:sldLayoutId id="2147483825" r:id="rId55"/>
    <p:sldLayoutId id="2147483826" r:id="rId56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32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234945" indent="-234945" algn="l" defTabSz="1219170" rtl="0" eaLnBrk="1" latinLnBrk="0" hangingPunct="1">
        <a:spcBef>
          <a:spcPct val="20000"/>
        </a:spcBef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80472" indent="-245527" algn="l" defTabSz="1219170" rtl="0" eaLnBrk="1" latinLnBrk="0" hangingPunct="1">
        <a:spcBef>
          <a:spcPct val="20000"/>
        </a:spcBef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34945" indent="-234945" algn="l" defTabSz="1219170" rtl="0" eaLnBrk="1" latinLnBrk="0" hangingPunct="1">
        <a:spcBef>
          <a:spcPts val="1600"/>
        </a:spcBef>
        <a:buFont typeface="+mj-lt"/>
        <a:buAutoNum type="arabicParenR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4945" indent="-234945" algn="l" defTabSz="1219170" rtl="0" eaLnBrk="1" latinLnBrk="0" hangingPunct="1">
        <a:spcBef>
          <a:spcPts val="1600"/>
        </a:spcBef>
        <a:buFont typeface="+mj-lt"/>
        <a:buAutoNum type="alphaLcParenR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656" y="1658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" name="Diapositiva think-cell" r:id="rId22" imgW="270" imgH="270" progId="TCLayout.ActiveDocument.1">
                  <p:embed/>
                </p:oleObj>
              </mc:Choice>
              <mc:Fallback>
                <p:oleObj name="Diapositiva think-cell" r:id="rId22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656" y="1658"/>
                        <a:ext cx="1653" cy="16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2300" y="140805"/>
            <a:ext cx="11620387" cy="403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62299" y="1592070"/>
            <a:ext cx="11620387" cy="4335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7116" y="6364105"/>
            <a:ext cx="769449" cy="49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299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  <p:sldLayoutId id="2147484013" r:id="rId16"/>
    <p:sldLayoutId id="2147484014" r:id="rId17"/>
    <p:sldLayoutId id="2147484015" r:id="rId18"/>
  </p:sldLayoutIdLst>
  <p:transition>
    <p:fade/>
  </p:transition>
  <p:txStyles>
    <p:titleStyle>
      <a:lvl1pPr algn="l" defTabSz="1218630" rtl="0" fontAlgn="base">
        <a:spcBef>
          <a:spcPts val="795"/>
        </a:spcBef>
        <a:spcAft>
          <a:spcPct val="0"/>
        </a:spcAft>
        <a:defRPr sz="2500" kern="1200">
          <a:gradFill flip="none" rotWithShape="1">
            <a:gsLst>
              <a:gs pos="0">
                <a:srgbClr val="7E040B"/>
              </a:gs>
              <a:gs pos="100000">
                <a:srgbClr val="670D65"/>
              </a:gs>
              <a:gs pos="33000">
                <a:srgbClr val="F80C17"/>
              </a:gs>
              <a:gs pos="66000">
                <a:srgbClr val="FA651C"/>
              </a:gs>
            </a:gsLst>
            <a:lin ang="0" scaled="1"/>
            <a:tileRect/>
          </a:gradFill>
          <a:latin typeface="+mj-lt"/>
          <a:ea typeface="ＭＳ Ｐゴシック" charset="0"/>
          <a:cs typeface="ＭＳ Ｐゴシック" charset="0"/>
        </a:defRPr>
      </a:lvl1pPr>
      <a:lvl2pPr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2pPr>
      <a:lvl3pPr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3pPr>
      <a:lvl4pPr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4pPr>
      <a:lvl5pPr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5pPr>
      <a:lvl6pPr marL="476208"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6pPr>
      <a:lvl7pPr marL="952415"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7pPr>
      <a:lvl8pPr marL="1428623"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8pPr>
      <a:lvl9pPr marL="1904831"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9pPr>
    </p:titleStyle>
    <p:bodyStyle>
      <a:lvl1pPr marL="238103" indent="-238103" algn="l" defTabSz="1218630" rtl="0" fontAlgn="base">
        <a:spcBef>
          <a:spcPts val="795"/>
        </a:spcBef>
        <a:spcAft>
          <a:spcPct val="0"/>
        </a:spcAft>
        <a:buClr>
          <a:srgbClr val="364E67"/>
        </a:buClr>
        <a:buFont typeface="Arial" charset="0"/>
        <a:buChar char="•"/>
        <a:defRPr kern="1200">
          <a:solidFill>
            <a:srgbClr val="364E67"/>
          </a:solidFill>
          <a:latin typeface="+mn-lt"/>
          <a:ea typeface="ＭＳ Ｐゴシック" charset="0"/>
          <a:cs typeface="ＭＳ Ｐゴシック" charset="0"/>
        </a:defRPr>
      </a:lvl1pPr>
      <a:lvl2pPr marL="479515" indent="-238103" algn="l" defTabSz="1218630" rtl="0" fontAlgn="base">
        <a:spcBef>
          <a:spcPts val="795"/>
        </a:spcBef>
        <a:spcAft>
          <a:spcPct val="0"/>
        </a:spcAft>
        <a:buClr>
          <a:srgbClr val="364E67"/>
        </a:buClr>
        <a:buFont typeface="Arial" charset="0"/>
        <a:buChar char="–"/>
        <a:defRPr sz="1667" kern="1200">
          <a:solidFill>
            <a:srgbClr val="364E67"/>
          </a:solidFill>
          <a:latin typeface="+mn-lt"/>
          <a:ea typeface="ＭＳ Ｐゴシック" charset="0"/>
          <a:cs typeface="+mn-cs"/>
        </a:defRPr>
      </a:lvl2pPr>
      <a:lvl3pPr marL="720926" indent="-239758" algn="l" defTabSz="1218630" rtl="0" fontAlgn="base">
        <a:spcBef>
          <a:spcPts val="795"/>
        </a:spcBef>
        <a:spcAft>
          <a:spcPct val="0"/>
        </a:spcAft>
        <a:buClr>
          <a:srgbClr val="364E67"/>
        </a:buClr>
        <a:buFont typeface="Lucida Grande" charset="0"/>
        <a:buChar char="­"/>
        <a:defRPr sz="1459" kern="1200">
          <a:solidFill>
            <a:srgbClr val="364E67"/>
          </a:solidFill>
          <a:latin typeface="+mn-lt"/>
          <a:ea typeface="ＭＳ Ｐゴシック" charset="0"/>
          <a:cs typeface="+mn-cs"/>
        </a:defRPr>
      </a:lvl3pPr>
      <a:lvl4pPr marL="954069" indent="-231490" algn="l" defTabSz="1218630" rtl="0" fontAlgn="base">
        <a:spcBef>
          <a:spcPts val="795"/>
        </a:spcBef>
        <a:spcAft>
          <a:spcPct val="0"/>
        </a:spcAft>
        <a:buClr>
          <a:srgbClr val="364E67"/>
        </a:buClr>
        <a:buFont typeface="Arial" charset="0"/>
        <a:buChar char="–"/>
        <a:defRPr sz="1249" kern="1200">
          <a:solidFill>
            <a:srgbClr val="364E67"/>
          </a:solidFill>
          <a:latin typeface="+mn-lt"/>
          <a:ea typeface="ＭＳ Ｐゴシック" charset="0"/>
          <a:cs typeface="+mn-cs"/>
        </a:defRPr>
      </a:lvl4pPr>
      <a:lvl5pPr marL="2741501" indent="-304244" algn="l" defTabSz="1218630" rtl="0" fontAlgn="base">
        <a:spcBef>
          <a:spcPct val="20000"/>
        </a:spcBef>
        <a:spcAft>
          <a:spcPct val="0"/>
        </a:spcAft>
        <a:buFont typeface="Arial" charset="0"/>
        <a:buChar char="»"/>
        <a:defRPr sz="2083" kern="1200">
          <a:solidFill>
            <a:schemeClr val="tx1"/>
          </a:solidFill>
          <a:latin typeface="+mj-lt"/>
          <a:ea typeface="ＭＳ Ｐゴシック" charset="0"/>
          <a:cs typeface="+mn-cs"/>
        </a:defRPr>
      </a:lvl5pPr>
      <a:lvl6pPr marL="3352502" indent="-304772" algn="l" defTabSz="1219091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048" indent="-304772" algn="l" defTabSz="1219091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594" indent="-304772" algn="l" defTabSz="1219091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138" indent="-304772" algn="l" defTabSz="1219091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46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091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37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183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729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274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820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366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0258"/>
            <a:ext cx="12192000" cy="629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768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53" y="198652"/>
            <a:ext cx="12034547" cy="6437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787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708" y="198652"/>
            <a:ext cx="11906520" cy="6437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175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blue - Bold Technology - master">
  <a:themeElements>
    <a:clrScheme name="Maxus">
      <a:dk1>
        <a:srgbClr val="404041"/>
      </a:dk1>
      <a:lt1>
        <a:sysClr val="window" lastClr="FFFFFF"/>
      </a:lt1>
      <a:dk2>
        <a:srgbClr val="00539A"/>
      </a:dk2>
      <a:lt2>
        <a:srgbClr val="EEECE1"/>
      </a:lt2>
      <a:accent1>
        <a:srgbClr val="00BBE3"/>
      </a:accent1>
      <a:accent2>
        <a:srgbClr val="ADAFB2"/>
      </a:accent2>
      <a:accent3>
        <a:srgbClr val="00539A"/>
      </a:accent3>
      <a:accent4>
        <a:srgbClr val="0BB14E"/>
      </a:accent4>
      <a:accent5>
        <a:srgbClr val="FFE512"/>
      </a:accent5>
      <a:accent6>
        <a:srgbClr val="E31837"/>
      </a:accent6>
      <a:hlink>
        <a:srgbClr val="ADAFB2"/>
      </a:hlink>
      <a:folHlink>
        <a:srgbClr val="80008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xus widescreen_1-14.potx" id="{C9B637F5-7AD6-4449-9C86-6F54E2A89114}" vid="{DE438CD4-904E-4F02-B72F-8FADF3847D7E}"/>
    </a:ext>
  </a:extLst>
</a:theme>
</file>

<file path=ppt/theme/theme2.xml><?xml version="1.0" encoding="utf-8"?>
<a:theme xmlns:a="http://schemas.openxmlformats.org/drawingml/2006/main" name="Clean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GroupM">
  <a:themeElements>
    <a:clrScheme name="GroupM">
      <a:dk1>
        <a:srgbClr val="0A2756"/>
      </a:dk1>
      <a:lt1>
        <a:sysClr val="window" lastClr="FFFFFF"/>
      </a:lt1>
      <a:dk2>
        <a:srgbClr val="000000"/>
      </a:dk2>
      <a:lt2>
        <a:srgbClr val="B9B9B9"/>
      </a:lt2>
      <a:accent1>
        <a:srgbClr val="0080FF"/>
      </a:accent1>
      <a:accent2>
        <a:srgbClr val="FFB32C"/>
      </a:accent2>
      <a:accent3>
        <a:srgbClr val="F47F64"/>
      </a:accent3>
      <a:accent4>
        <a:srgbClr val="87CB9C"/>
      </a:accent4>
      <a:accent5>
        <a:srgbClr val="C590C0"/>
      </a:accent5>
      <a:accent6>
        <a:srgbClr val="77B0DD"/>
      </a:accent6>
      <a:hlink>
        <a:srgbClr val="0080FF"/>
      </a:hlink>
      <a:folHlink>
        <a:srgbClr val="B766C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Aft>
            <a:spcPts val="6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49F99EF-9716-BC49-B28B-0D670CD3AA06}" vid="{281CF3E9-2862-BB43-B7F4-B25A87FA0BD8}"/>
    </a:ext>
  </a:extLst>
</a:theme>
</file>

<file path=ppt/theme/theme4.xml><?xml version="1.0" encoding="utf-8"?>
<a:theme xmlns:a="http://schemas.openxmlformats.org/drawingml/2006/main" name="1_GroupM">
  <a:themeElements>
    <a:clrScheme name="GroupM">
      <a:dk1>
        <a:srgbClr val="0A2756"/>
      </a:dk1>
      <a:lt1>
        <a:sysClr val="window" lastClr="FFFFFF"/>
      </a:lt1>
      <a:dk2>
        <a:srgbClr val="000000"/>
      </a:dk2>
      <a:lt2>
        <a:srgbClr val="B9B9B9"/>
      </a:lt2>
      <a:accent1>
        <a:srgbClr val="0080FF"/>
      </a:accent1>
      <a:accent2>
        <a:srgbClr val="FFB32C"/>
      </a:accent2>
      <a:accent3>
        <a:srgbClr val="F47F64"/>
      </a:accent3>
      <a:accent4>
        <a:srgbClr val="87CB9C"/>
      </a:accent4>
      <a:accent5>
        <a:srgbClr val="C590C0"/>
      </a:accent5>
      <a:accent6>
        <a:srgbClr val="77B0DD"/>
      </a:accent6>
      <a:hlink>
        <a:srgbClr val="0080FF"/>
      </a:hlink>
      <a:folHlink>
        <a:srgbClr val="B766C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Aft>
            <a:spcPts val="6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49F99EF-9716-BC49-B28B-0D670CD3AA06}" vid="{281CF3E9-2862-BB43-B7F4-B25A87FA0BD8}"/>
    </a:ext>
  </a:extLst>
</a:theme>
</file>

<file path=ppt/theme/theme5.xml><?xml version="1.0" encoding="utf-8"?>
<a:theme xmlns:a="http://schemas.openxmlformats.org/drawingml/2006/main" name="6_16x9 HD PPT Template MASTER">
  <a:themeElements>
    <a:clrScheme name="Sky Colours">
      <a:dk1>
        <a:srgbClr val="000000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000099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97</TotalTime>
  <Words>2</Words>
  <Application>Microsoft Office PowerPoint</Application>
  <PresentationFormat>Widescreen</PresentationFormat>
  <Paragraphs>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20" baseType="lpstr">
      <vt:lpstr>ＭＳ Ｐゴシック</vt:lpstr>
      <vt:lpstr>Arial</vt:lpstr>
      <vt:lpstr>Calibri</vt:lpstr>
      <vt:lpstr>HelveticaNeueLT W1G 45 Lt</vt:lpstr>
      <vt:lpstr>Lucida Grande</vt:lpstr>
      <vt:lpstr>Open Sans</vt:lpstr>
      <vt:lpstr>Sky Text</vt:lpstr>
      <vt:lpstr>Sky Text Medium</vt:lpstr>
      <vt:lpstr>Times New Roman</vt:lpstr>
      <vt:lpstr>Trocchi</vt:lpstr>
      <vt:lpstr>Wingdings</vt:lpstr>
      <vt:lpstr>Light blue - Bold Technology - master</vt:lpstr>
      <vt:lpstr>Clean master</vt:lpstr>
      <vt:lpstr>GroupM</vt:lpstr>
      <vt:lpstr>1_GroupM</vt:lpstr>
      <vt:lpstr>6_16x9 HD PPT Template MASTER</vt:lpstr>
      <vt:lpstr>Diapositiva think-cell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ttoria Valente</dc:creator>
  <cp:lastModifiedBy>Paola Maffezzoni</cp:lastModifiedBy>
  <cp:revision>365</cp:revision>
  <dcterms:created xsi:type="dcterms:W3CDTF">2017-07-26T15:32:02Z</dcterms:created>
  <dcterms:modified xsi:type="dcterms:W3CDTF">2017-11-15T17:31:45Z</dcterms:modified>
</cp:coreProperties>
</file>